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90" r:id="rId4"/>
    <p:sldMasterId id="2147483698" r:id="rId5"/>
    <p:sldMasterId id="2147483747" r:id="rId6"/>
    <p:sldMasterId id="2147483792" r:id="rId7"/>
  </p:sldMasterIdLst>
  <p:notesMasterIdLst>
    <p:notesMasterId r:id="rId21"/>
  </p:notesMasterIdLst>
  <p:sldIdLst>
    <p:sldId id="2147482566" r:id="rId8"/>
    <p:sldId id="2147479954" r:id="rId9"/>
    <p:sldId id="2147472217" r:id="rId10"/>
    <p:sldId id="2147047105" r:id="rId11"/>
    <p:sldId id="875" r:id="rId12"/>
    <p:sldId id="2147472219" r:id="rId13"/>
    <p:sldId id="2147472218" r:id="rId14"/>
    <p:sldId id="2147472221" r:id="rId15"/>
    <p:sldId id="2147472222" r:id="rId16"/>
    <p:sldId id="2147472223" r:id="rId17"/>
    <p:sldId id="2147482569" r:id="rId18"/>
    <p:sldId id="7713" r:id="rId19"/>
    <p:sldId id="2147480042" r:id="rId2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Program Dashboard" id="{4370AE47-AB22-431B-AA1E-F7B67DD7F8F7}">
          <p14:sldIdLst>
            <p14:sldId id="2147482566"/>
            <p14:sldId id="2147479954"/>
            <p14:sldId id="2147472217"/>
            <p14:sldId id="2147047105"/>
            <p14:sldId id="875"/>
            <p14:sldId id="2147472219"/>
            <p14:sldId id="2147472218"/>
            <p14:sldId id="2147472221"/>
            <p14:sldId id="2147472222"/>
            <p14:sldId id="2147472223"/>
            <p14:sldId id="2147482569"/>
            <p14:sldId id="7713"/>
            <p14:sldId id="214748004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840" userDrawn="1">
          <p15:clr>
            <a:srgbClr val="A4A3A4"/>
          </p15:clr>
        </p15:guide>
        <p15:guide id="2" pos="682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B3EF9221-3BFF-28DC-ED7D-3300388A6E2A}" name="Skrine, Nicholas" initials="" userId="S::nicholas.skrine@accenture.com::da48a59a-fde0-40a6-a1d7-86b95f23e7d2" providerId="AD"/>
  <p188:author id="{39AC8F30-96AF-B6ED-BC86-DA3D9D9EA899}" name="Cheung, Lila" initials="CL" userId="S::lila.cheung@accenture.com::199ceef4-5e80-451c-90f7-72712354c1d2" providerId="AD"/>
  <p188:author id="{DFFA5E3D-00E6-2C0E-CB85-4EF40C6CC754}" name="ENRIQUEZ, ANDREA" initials="AE" userId="S::a.enriquez@accenture.com::5da71d6b-7acc-467b-aa98-4c2276c762bf" providerId="AD"/>
  <p188:author id="{5462A145-DD7F-A0E9-DB5C-FEB260B697F7}" name="Hughes, Geoffrey" initials="" userId="S::geoff.hughes@accenture.com::3a113038-a1dd-4ae1-bb09-c55f4cc116d5" providerId="AD"/>
  <p188:author id="{DAECEB79-76CD-BB9D-E6D8-E60154DCAFCD}" name="Chan, Anna" initials="CA" userId="S::anna.chan@accenture.com::52cdd6c0-af4e-4cf6-9c8e-cdbffed0f1b7" providerId="AD"/>
  <p188:author id="{3A24768B-E7B5-22A6-BD60-C0025E27B88E}" name="Esparza, Luz S." initials="LE" userId="S::luz.s.esparza@accenture.com::0837f716-8ad7-4268-b60c-1b8842fbd73b" providerId="AD"/>
  <p188:author id="{97CA97BF-FAAA-A04F-5B34-52663D7B957C}" name="Esquivel, Caroline" initials="CE" userId="S::caroline.esquivel@accenture.com::ee3187fc-b79d-4ff0-9aa5-79663d38b680" providerId="AD"/>
  <p188:author id="{1A97EBD5-8C0F-583A-BEDC-C74C38CDE0F3}" name="Senapati, Girish" initials="" userId="S::girish.senapati@accenture.com::de14f960-bef4-4923-ae18-30544f68e12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3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7D8E"/>
    <a:srgbClr val="446ED8"/>
    <a:srgbClr val="D2FEF9"/>
    <a:srgbClr val="A6C9EC"/>
    <a:srgbClr val="9F9F9F"/>
    <a:srgbClr val="B7FFFF"/>
    <a:srgbClr val="EDF1E7"/>
    <a:srgbClr val="B5E6A2"/>
    <a:srgbClr val="D0D0D0"/>
    <a:srgbClr val="FFCF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6" d="100"/>
          <a:sy n="56" d="100"/>
        </p:scale>
        <p:origin x="976" y="44"/>
      </p:cViewPr>
      <p:guideLst>
        <p:guide orient="horz" pos="3840"/>
        <p:guide pos="68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867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6676AF9D-7DF9-501C-8D25-AED29791F1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7906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2BD56-A14F-7E4D-A711-2CB122CF04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42189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2" y="1828803"/>
            <a:ext cx="8572500" cy="4689475"/>
          </a:xfrm>
        </p:spPr>
        <p:txBody>
          <a:bodyPr/>
          <a:lstStyle>
            <a:lvl3pPr marL="514326" indent="-230177">
              <a:buFont typeface="Graphik" panose="020B0503030202060203" pitchFamily="34" charset="0"/>
              <a:buChar char="–"/>
              <a:defRPr/>
            </a:lvl3pPr>
            <a:lvl5pPr marL="857208" indent="-1777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1001"/>
            <a:ext cx="5715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1548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3"/>
          <p:cNvSpPr txBox="1">
            <a:spLocks/>
          </p:cNvSpPr>
          <p:nvPr userDrawn="1"/>
        </p:nvSpPr>
        <p:spPr>
          <a:xfrm>
            <a:off x="11600825" y="6622155"/>
            <a:ext cx="429969" cy="226960"/>
          </a:xfrm>
          <a:prstGeom prst="rect">
            <a:avLst/>
          </a:prstGeom>
        </p:spPr>
        <p:txBody>
          <a:bodyPr lIns="0" tIns="3596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 defTabSz="913446">
              <a:defRPr/>
            </a:pPr>
            <a:fld id="{EB578BD5-E3A8-4354-91BC-79CE4598B8D1}" type="slidenum">
              <a:rPr lang="fr-FR" sz="800" smtClean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pPr algn="r" defTabSz="913446">
                <a:defRPr/>
              </a:pPr>
              <a:t>‹#›</a:t>
            </a:fld>
            <a:endParaRPr lang="fr-FR" sz="80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07140" y="6622155"/>
            <a:ext cx="6710533" cy="226960"/>
          </a:xfrm>
          <a:prstGeom prst="rect">
            <a:avLst/>
          </a:prstGeom>
        </p:spPr>
        <p:txBody>
          <a:bodyPr lIns="0" tIns="3596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defTabSz="913446">
              <a:defRPr/>
            </a:pPr>
            <a:endParaRPr lang="fr-FR" sz="80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5E593314-7EA1-4F8A-B0B2-96DA687E3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81001"/>
            <a:ext cx="11219825" cy="72130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2FE50C6-8F25-4C8D-9B8B-4C29DCEC45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4555" y="101531"/>
            <a:ext cx="1030119" cy="579507"/>
          </a:xfrm>
          <a:prstGeom prst="rect">
            <a:avLst/>
          </a:prstGeom>
        </p:spPr>
      </p:pic>
      <p:pic>
        <p:nvPicPr>
          <p:cNvPr id="12" name="Picture 2" descr="Image result for hsd new mexico logo">
            <a:extLst>
              <a:ext uri="{FF2B5EF4-FFF2-40B4-BE49-F238E27FC236}">
                <a16:creationId xmlns:a16="http://schemas.microsoft.com/office/drawing/2014/main" id="{355BC16F-BE01-4437-84DB-0D1FCBDC7EC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21688" y="99603"/>
            <a:ext cx="1473355" cy="53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5699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1000" y="1640439"/>
            <a:ext cx="11186587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56" indent="-271456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489" indent="-173034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59" indent="-18097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18" indent="-18255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8989" indent="-18097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altLang="zh-HK" noProof="0"/>
              <a:t>Click to edit Master text styles</a:t>
            </a:r>
          </a:p>
          <a:p>
            <a:pPr lvl="1"/>
            <a:r>
              <a:rPr lang="en-US" altLang="zh-HK" noProof="0"/>
              <a:t>Second level</a:t>
            </a:r>
          </a:p>
          <a:p>
            <a:pPr lvl="2"/>
            <a:r>
              <a:rPr lang="en-US" altLang="zh-HK" noProof="0"/>
              <a:t>Third level</a:t>
            </a:r>
          </a:p>
          <a:p>
            <a:pPr lvl="3"/>
            <a:r>
              <a:rPr lang="en-US" altLang="zh-HK" noProof="0"/>
              <a:t>Fourth level</a:t>
            </a:r>
          </a:p>
          <a:p>
            <a:pPr lvl="4"/>
            <a:r>
              <a:rPr lang="en-US" altLang="zh-HK" noProof="0"/>
              <a:t>Fifth level</a:t>
            </a:r>
            <a:endParaRPr lang="en-US" noProof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381000" y="1102301"/>
            <a:ext cx="11186587" cy="538139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B71C0BF6-A2D2-45C7-9C73-01F5F2E23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81001"/>
            <a:ext cx="11219825" cy="72130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Inhaltsplatzhalter 13">
            <a:extLst>
              <a:ext uri="{FF2B5EF4-FFF2-40B4-BE49-F238E27FC236}">
                <a16:creationId xmlns:a16="http://schemas.microsoft.com/office/drawing/2014/main" id="{44C878DF-EEF5-4C62-BB92-1F8851909F35}"/>
              </a:ext>
            </a:extLst>
          </p:cNvPr>
          <p:cNvSpPr txBox="1">
            <a:spLocks/>
          </p:cNvSpPr>
          <p:nvPr userDrawn="1"/>
        </p:nvSpPr>
        <p:spPr>
          <a:xfrm>
            <a:off x="11600825" y="6622155"/>
            <a:ext cx="429969" cy="226960"/>
          </a:xfrm>
          <a:prstGeom prst="rect">
            <a:avLst/>
          </a:prstGeom>
        </p:spPr>
        <p:txBody>
          <a:bodyPr lIns="0" tIns="3596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 defTabSz="913446">
              <a:defRPr/>
            </a:pPr>
            <a:fld id="{EB578BD5-E3A8-4354-91BC-79CE4598B8D1}" type="slidenum">
              <a:rPr lang="fr-FR" sz="800" smtClean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pPr algn="r" defTabSz="913446">
                <a:defRPr/>
              </a:pPr>
              <a:t>‹#›</a:t>
            </a:fld>
            <a:endParaRPr lang="fr-FR" sz="80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7" name="AMC_Footer">
            <a:extLst>
              <a:ext uri="{FF2B5EF4-FFF2-40B4-BE49-F238E27FC236}">
                <a16:creationId xmlns:a16="http://schemas.microsoft.com/office/drawing/2014/main" id="{2C238109-7F05-40F6-B904-E958D7C478C6}"/>
              </a:ext>
            </a:extLst>
          </p:cNvPr>
          <p:cNvSpPr txBox="1">
            <a:spLocks/>
          </p:cNvSpPr>
          <p:nvPr userDrawn="1"/>
        </p:nvSpPr>
        <p:spPr>
          <a:xfrm>
            <a:off x="407140" y="6622155"/>
            <a:ext cx="6710533" cy="226960"/>
          </a:xfrm>
          <a:prstGeom prst="rect">
            <a:avLst/>
          </a:prstGeom>
        </p:spPr>
        <p:txBody>
          <a:bodyPr lIns="0" tIns="3596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defTabSz="913446">
              <a:defRPr/>
            </a:pPr>
            <a:endParaRPr lang="fr-FR" sz="80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25793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380999" y="833232"/>
            <a:ext cx="11186587" cy="538139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B71C0BF6-A2D2-45C7-9C73-01F5F2E23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81001"/>
            <a:ext cx="11219825" cy="72130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Inhaltsplatzhalter 13">
            <a:extLst>
              <a:ext uri="{FF2B5EF4-FFF2-40B4-BE49-F238E27FC236}">
                <a16:creationId xmlns:a16="http://schemas.microsoft.com/office/drawing/2014/main" id="{E44A9BAB-26EB-4FA9-9302-0FB6C1D4A0DC}"/>
              </a:ext>
            </a:extLst>
          </p:cNvPr>
          <p:cNvSpPr txBox="1">
            <a:spLocks/>
          </p:cNvSpPr>
          <p:nvPr userDrawn="1"/>
        </p:nvSpPr>
        <p:spPr>
          <a:xfrm>
            <a:off x="11600825" y="6622155"/>
            <a:ext cx="429969" cy="226960"/>
          </a:xfrm>
          <a:prstGeom prst="rect">
            <a:avLst/>
          </a:prstGeom>
        </p:spPr>
        <p:txBody>
          <a:bodyPr lIns="0" tIns="3596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 defTabSz="913446">
              <a:defRPr/>
            </a:pPr>
            <a:fld id="{EB578BD5-E3A8-4354-91BC-79CE4598B8D1}" type="slidenum">
              <a:rPr lang="fr-FR" sz="800" smtClean="0">
                <a:solidFill>
                  <a:prstClr val="black"/>
                </a:solidFill>
                <a:latin typeface="Calibri" panose="020F0502020204030204" pitchFamily="34" charset="0"/>
                <a:cs typeface="Arial" pitchFamily="34" charset="0"/>
              </a:rPr>
              <a:pPr algn="r" defTabSz="913446">
                <a:defRPr/>
              </a:pPr>
              <a:t>‹#›</a:t>
            </a:fld>
            <a:endParaRPr lang="fr-FR" sz="80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7" name="AMC_Footer">
            <a:extLst>
              <a:ext uri="{FF2B5EF4-FFF2-40B4-BE49-F238E27FC236}">
                <a16:creationId xmlns:a16="http://schemas.microsoft.com/office/drawing/2014/main" id="{D7327391-60D9-4C33-AA03-53C09A3EE87A}"/>
              </a:ext>
            </a:extLst>
          </p:cNvPr>
          <p:cNvSpPr txBox="1">
            <a:spLocks/>
          </p:cNvSpPr>
          <p:nvPr userDrawn="1"/>
        </p:nvSpPr>
        <p:spPr>
          <a:xfrm>
            <a:off x="407140" y="6622155"/>
            <a:ext cx="6710533" cy="226960"/>
          </a:xfrm>
          <a:prstGeom prst="rect">
            <a:avLst/>
          </a:prstGeom>
        </p:spPr>
        <p:txBody>
          <a:bodyPr lIns="0" tIns="35964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defTabSz="913446">
              <a:defRPr/>
            </a:pPr>
            <a:endParaRPr lang="fr-FR" sz="80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009897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94FFC1-13AB-4565-9C0F-FA88209CFA1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C5CEA823-2267-48DD-9DFD-495A863ABC65}"/>
              </a:ext>
            </a:extLst>
          </p:cNvPr>
          <p:cNvSpPr txBox="1">
            <a:spLocks/>
          </p:cNvSpPr>
          <p:nvPr userDrawn="1"/>
        </p:nvSpPr>
        <p:spPr>
          <a:xfrm>
            <a:off x="381001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750" b="0" i="0" u="none" strike="noStrike" cap="none" smtClean="0">
                <a:solidFill>
                  <a:schemeClr val="bg1">
                    <a:lumMod val="65000"/>
                  </a:schemeClr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4955028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Line Headline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5600" y="383452"/>
            <a:ext cx="11509200" cy="777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7901AD-F420-2A42-8FD8-4C60641C4FC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076" y="813316"/>
            <a:ext cx="11508725" cy="375872"/>
          </a:xfrm>
        </p:spPr>
        <p:txBody>
          <a:bodyPr>
            <a:spAutoFit/>
          </a:bodyPr>
          <a:lstStyle>
            <a:lvl1pPr>
              <a:defRPr sz="1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0ACEEA9-68DC-0C4D-A378-79E236CA5EAA}"/>
              </a:ext>
            </a:extLst>
          </p:cNvPr>
          <p:cNvSpPr txBox="1">
            <a:spLocks/>
          </p:cNvSpPr>
          <p:nvPr userDrawn="1"/>
        </p:nvSpPr>
        <p:spPr>
          <a:xfrm>
            <a:off x="-1421884" y="6656640"/>
            <a:ext cx="41148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45106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40A06-5626-435A-8512-A13A17FE6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59E13B-95D3-4925-864B-A2948D3E7E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305DB39-2EE3-4059-BA2E-F36C4BF708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9355F9-A980-42B1-9F75-1EA044C185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8D4F05-AAA1-4FDB-BBB1-DAE9A71C3B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12BDF7-B491-4CB0-B922-F32573C22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8E3E53-A54E-4655-AC73-68FBED182700}" type="datetimeFigureOut">
              <a:rPr lang="en-US" smtClean="0"/>
              <a:t>11/4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B3F194-9CF6-4376-950E-CD534E533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BEA4E-14D7-400D-9091-69045E87AC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2B5946-BB29-4E57-89E8-991545FA4D55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Image result for hsd new mexico logo">
            <a:extLst>
              <a:ext uri="{FF2B5EF4-FFF2-40B4-BE49-F238E27FC236}">
                <a16:creationId xmlns:a16="http://schemas.microsoft.com/office/drawing/2014/main" id="{B06A5454-B599-4900-99F5-689420148CA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21688" y="99603"/>
            <a:ext cx="1473355" cy="53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DC7328-AD26-4804-8E9B-46A06DC4D0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4555" y="101531"/>
            <a:ext cx="1030119" cy="579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0382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55741" y="6354521"/>
            <a:ext cx="2377576" cy="290498"/>
          </a:xfrm>
          <a:ln>
            <a:solidFill>
              <a:schemeClr val="tx1"/>
            </a:solidFill>
          </a:ln>
        </p:spPr>
        <p:txBody>
          <a:bodyPr wrap="none" lIns="143987" tIns="71994" rIns="143987" bIns="71994" anchor="ctr">
            <a:spAutoFit/>
          </a:bodyPr>
          <a:lstStyle>
            <a:lvl1pPr>
              <a:spcBef>
                <a:spcPts val="0"/>
              </a:spcBef>
              <a:defRPr sz="11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Key Point if Needed</a:t>
            </a:r>
            <a:endParaRPr lang="en-AU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F357F90-4A00-014F-89FE-164EF6ECF3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00330" y="6418634"/>
            <a:ext cx="770951" cy="192287"/>
          </a:xfr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419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331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57D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04800" y="304800"/>
            <a:ext cx="11582400" cy="6248400"/>
          </a:xfrm>
          <a:prstGeom prst="rect">
            <a:avLst/>
          </a:prstGeom>
          <a:noFill/>
          <a:ln w="508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1548245"/>
            <a:ext cx="10515600" cy="2240280"/>
          </a:xfrm>
        </p:spPr>
        <p:txBody>
          <a:bodyPr anchor="b">
            <a:normAutofit/>
          </a:bodyPr>
          <a:lstStyle>
            <a:lvl1pPr algn="ctr">
              <a:defRPr sz="65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3854659"/>
            <a:ext cx="10515600" cy="1143000"/>
          </a:xfrm>
        </p:spPr>
        <p:txBody>
          <a:bodyPr>
            <a:normAutofit/>
          </a:bodyPr>
          <a:lstStyle>
            <a:lvl1pPr marL="0" indent="0" algn="ctr">
              <a:buNone/>
              <a:defRPr sz="3599" cap="all" spc="37" baseline="0">
                <a:solidFill>
                  <a:schemeClr val="bg1"/>
                </a:solidFill>
              </a:defRPr>
            </a:lvl1pPr>
            <a:lvl2pPr marL="342822" indent="0" algn="ctr">
              <a:buNone/>
              <a:defRPr sz="1500"/>
            </a:lvl2pPr>
            <a:lvl3pPr marL="685646" indent="0" algn="ctr">
              <a:buNone/>
              <a:defRPr sz="1351"/>
            </a:lvl3pPr>
            <a:lvl4pPr marL="1028468" indent="0" algn="ctr">
              <a:buNone/>
              <a:defRPr sz="1200"/>
            </a:lvl4pPr>
            <a:lvl5pPr marL="1371292" indent="0" algn="ctr">
              <a:buNone/>
              <a:defRPr sz="1200"/>
            </a:lvl5pPr>
            <a:lvl6pPr marL="1714114" indent="0" algn="ctr">
              <a:buNone/>
              <a:defRPr sz="1200"/>
            </a:lvl6pPr>
            <a:lvl7pPr marL="2056938" indent="0" algn="ctr">
              <a:buNone/>
              <a:defRPr sz="1200"/>
            </a:lvl7pPr>
            <a:lvl8pPr marL="2399760" indent="0" algn="ctr">
              <a:buNone/>
              <a:defRPr sz="1200"/>
            </a:lvl8pPr>
            <a:lvl9pPr marL="274258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08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820717"/>
            <a:ext cx="12192000" cy="2057400"/>
          </a:xfrm>
          <a:prstGeom prst="rect">
            <a:avLst/>
          </a:prstGeom>
          <a:solidFill>
            <a:srgbClr val="057D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4820717"/>
            <a:ext cx="11125200" cy="914400"/>
          </a:xfrm>
        </p:spPr>
        <p:txBody>
          <a:bodyPr anchor="ctr">
            <a:normAutofit/>
          </a:bodyPr>
          <a:lstStyle>
            <a:lvl1pPr algn="ctr">
              <a:defRPr sz="3299" spc="-3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0"/>
          </p:nvPr>
        </p:nvSpPr>
        <p:spPr>
          <a:xfrm>
            <a:off x="1" y="1"/>
            <a:ext cx="4023360" cy="4745736"/>
          </a:xfrm>
        </p:spPr>
        <p:txBody>
          <a:bodyPr tIns="457200">
            <a:normAutofit/>
          </a:bodyPr>
          <a:lstStyle>
            <a:lvl1pPr marL="0" indent="0" algn="ctr">
              <a:buNone/>
              <a:defRPr sz="1500"/>
            </a:lvl1pPr>
            <a:lvl2pPr marL="342822" indent="0">
              <a:buNone/>
              <a:defRPr sz="2100"/>
            </a:lvl2pPr>
            <a:lvl3pPr marL="685646" indent="0">
              <a:buNone/>
              <a:defRPr sz="1800"/>
            </a:lvl3pPr>
            <a:lvl4pPr marL="1028468" indent="0">
              <a:buNone/>
              <a:defRPr sz="1500"/>
            </a:lvl4pPr>
            <a:lvl5pPr marL="1371292" indent="0">
              <a:buNone/>
              <a:defRPr sz="1500"/>
            </a:lvl5pPr>
            <a:lvl6pPr marL="1714114" indent="0">
              <a:buNone/>
              <a:defRPr sz="1500"/>
            </a:lvl6pPr>
            <a:lvl7pPr marL="2056938" indent="0">
              <a:buNone/>
              <a:defRPr sz="1500"/>
            </a:lvl7pPr>
            <a:lvl8pPr marL="2399760" indent="0">
              <a:buNone/>
              <a:defRPr sz="1500"/>
            </a:lvl8pPr>
            <a:lvl9pPr marL="2742582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1"/>
          </p:nvPr>
        </p:nvSpPr>
        <p:spPr>
          <a:xfrm>
            <a:off x="4084320" y="1"/>
            <a:ext cx="4023360" cy="4745736"/>
          </a:xfrm>
        </p:spPr>
        <p:txBody>
          <a:bodyPr tIns="457200">
            <a:normAutofit/>
          </a:bodyPr>
          <a:lstStyle>
            <a:lvl1pPr marL="0" indent="0" algn="ctr">
              <a:buNone/>
              <a:defRPr sz="1500"/>
            </a:lvl1pPr>
            <a:lvl2pPr marL="342822" indent="0">
              <a:buNone/>
              <a:defRPr sz="2100"/>
            </a:lvl2pPr>
            <a:lvl3pPr marL="685646" indent="0">
              <a:buNone/>
              <a:defRPr sz="1800"/>
            </a:lvl3pPr>
            <a:lvl4pPr marL="1028468" indent="0">
              <a:buNone/>
              <a:defRPr sz="1500"/>
            </a:lvl4pPr>
            <a:lvl5pPr marL="1371292" indent="0">
              <a:buNone/>
              <a:defRPr sz="1500"/>
            </a:lvl5pPr>
            <a:lvl6pPr marL="1714114" indent="0">
              <a:buNone/>
              <a:defRPr sz="1500"/>
            </a:lvl6pPr>
            <a:lvl7pPr marL="2056938" indent="0">
              <a:buNone/>
              <a:defRPr sz="1500"/>
            </a:lvl7pPr>
            <a:lvl8pPr marL="2399760" indent="0">
              <a:buNone/>
              <a:defRPr sz="1500"/>
            </a:lvl8pPr>
            <a:lvl9pPr marL="2742582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2"/>
          </p:nvPr>
        </p:nvSpPr>
        <p:spPr>
          <a:xfrm>
            <a:off x="8168640" y="1"/>
            <a:ext cx="4023360" cy="4745736"/>
          </a:xfrm>
        </p:spPr>
        <p:txBody>
          <a:bodyPr tIns="457200">
            <a:normAutofit/>
          </a:bodyPr>
          <a:lstStyle>
            <a:lvl1pPr marL="0" indent="0" algn="ctr">
              <a:buNone/>
              <a:defRPr sz="1500"/>
            </a:lvl1pPr>
            <a:lvl2pPr marL="342822" indent="0">
              <a:buNone/>
              <a:defRPr sz="2100"/>
            </a:lvl2pPr>
            <a:lvl3pPr marL="685646" indent="0">
              <a:buNone/>
              <a:defRPr sz="1800"/>
            </a:lvl3pPr>
            <a:lvl4pPr marL="1028468" indent="0">
              <a:buNone/>
              <a:defRPr sz="1500"/>
            </a:lvl4pPr>
            <a:lvl5pPr marL="1371292" indent="0">
              <a:buNone/>
              <a:defRPr sz="1500"/>
            </a:lvl5pPr>
            <a:lvl6pPr marL="1714114" indent="0">
              <a:buNone/>
              <a:defRPr sz="1500"/>
            </a:lvl6pPr>
            <a:lvl7pPr marL="2056938" indent="0">
              <a:buNone/>
              <a:defRPr sz="1500"/>
            </a:lvl7pPr>
            <a:lvl8pPr marL="2399760" indent="0">
              <a:buNone/>
              <a:defRPr sz="1500"/>
            </a:lvl8pPr>
            <a:lvl9pPr marL="2742582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3400" y="5752974"/>
            <a:ext cx="11125200" cy="5715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500" cap="all" spc="37" baseline="0">
                <a:solidFill>
                  <a:schemeClr val="bg1"/>
                </a:solidFill>
              </a:defRPr>
            </a:lvl1pPr>
            <a:lvl2pPr marL="342822" indent="0" algn="ctr">
              <a:buNone/>
              <a:defRPr sz="1500"/>
            </a:lvl2pPr>
            <a:lvl3pPr marL="685646" indent="0" algn="ctr">
              <a:buNone/>
              <a:defRPr sz="1351"/>
            </a:lvl3pPr>
            <a:lvl4pPr marL="1028468" indent="0" algn="ctr">
              <a:buNone/>
              <a:defRPr sz="1200"/>
            </a:lvl4pPr>
            <a:lvl5pPr marL="1371292" indent="0" algn="ctr">
              <a:buNone/>
              <a:defRPr sz="1200"/>
            </a:lvl5pPr>
            <a:lvl6pPr marL="1714114" indent="0" algn="ctr">
              <a:buNone/>
              <a:defRPr sz="1200"/>
            </a:lvl6pPr>
            <a:lvl7pPr marL="2056938" indent="0" algn="ctr">
              <a:buNone/>
              <a:defRPr sz="1200"/>
            </a:lvl7pPr>
            <a:lvl8pPr marL="2399760" indent="0" algn="ctr">
              <a:buNone/>
              <a:defRPr sz="1200"/>
            </a:lvl8pPr>
            <a:lvl9pPr marL="274258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4697ABC-CEC7-4EC3-98F9-707D8919A019}"/>
              </a:ext>
            </a:extLst>
          </p:cNvPr>
          <p:cNvSpPr txBox="1">
            <a:spLocks/>
          </p:cNvSpPr>
          <p:nvPr userDrawn="1"/>
        </p:nvSpPr>
        <p:spPr>
          <a:xfrm>
            <a:off x="559777" y="6267513"/>
            <a:ext cx="11125200" cy="571500"/>
          </a:xfrm>
          <a:prstGeom prst="rect">
            <a:avLst/>
          </a:prstGeom>
        </p:spPr>
        <p:txBody>
          <a:bodyPr vert="horz" lIns="91428" tIns="45714" rIns="91428" bIns="45714" rtlCol="0"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500" kern="1200" cap="all" spc="38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i="1">
                <a:solidFill>
                  <a:srgbClr val="E9C73D"/>
                </a:solidFill>
              </a:rPr>
              <a:t>Investing for tomorrow, </a:t>
            </a:r>
            <a:r>
              <a:rPr lang="en-US" sz="2000" i="1">
                <a:solidFill>
                  <a:srgbClr val="D8892A"/>
                </a:solidFill>
              </a:rPr>
              <a:t>delivering today.</a:t>
            </a:r>
          </a:p>
        </p:txBody>
      </p:sp>
    </p:spTree>
    <p:extLst>
      <p:ext uri="{BB962C8B-B14F-4D97-AF65-F5344CB8AC3E}">
        <p14:creationId xmlns:p14="http://schemas.microsoft.com/office/powerpoint/2010/main" val="2542122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3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26" indent="-230177">
              <a:buFont typeface="Graphik" panose="020B0503030202060203" pitchFamily="34" charset="0"/>
              <a:buChar char="–"/>
              <a:defRPr sz="1600"/>
            </a:lvl3pPr>
            <a:lvl5pPr marL="857208" indent="-1777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1001"/>
            <a:ext cx="5715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3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26" indent="-230177">
              <a:buFont typeface="Graphik" panose="020B0503030202060203" pitchFamily="34" charset="0"/>
              <a:buChar char="–"/>
              <a:defRPr sz="1600"/>
            </a:lvl3pPr>
            <a:lvl5pPr marL="857208" indent="-1777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01825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224" y="0"/>
            <a:ext cx="11061674" cy="1143000"/>
          </a:xfrm>
        </p:spPr>
        <p:txBody>
          <a:bodyPr anchor="ctr">
            <a:normAutofit/>
          </a:bodyPr>
          <a:lstStyle>
            <a:lvl1pPr>
              <a:defRPr sz="3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6224" y="1383759"/>
            <a:ext cx="11061674" cy="5046223"/>
          </a:xfrm>
        </p:spPr>
        <p:txBody>
          <a:bodyPr anchor="t"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0"/>
            <a:ext cx="523376" cy="342900"/>
          </a:xfrm>
        </p:spPr>
        <p:txBody>
          <a:bodyPr/>
          <a:lstStyle/>
          <a:p>
            <a:fld id="{1654B4FF-F69B-2342-AEB2-F78AA03965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88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rgbClr val="057D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04800" y="304800"/>
            <a:ext cx="11582400" cy="6248400"/>
          </a:xfrm>
          <a:prstGeom prst="rect">
            <a:avLst/>
          </a:prstGeom>
          <a:noFill/>
          <a:ln w="508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5025" y="1310360"/>
            <a:ext cx="10515600" cy="2743200"/>
          </a:xfrm>
        </p:spPr>
        <p:txBody>
          <a:bodyPr anchor="b">
            <a:normAutofit/>
          </a:bodyPr>
          <a:lstStyle>
            <a:lvl1pPr algn="ctr">
              <a:defRPr sz="4000" spc="-3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35025" y="4176040"/>
            <a:ext cx="10515600" cy="914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cap="all" spc="37" baseline="0">
                <a:solidFill>
                  <a:schemeClr val="bg1"/>
                </a:solidFill>
              </a:defRPr>
            </a:lvl1pPr>
            <a:lvl2pPr marL="274258" indent="0" algn="ctr">
              <a:buNone/>
              <a:defRPr sz="1500" cap="all" spc="37" baseline="0">
                <a:solidFill>
                  <a:schemeClr val="bg1"/>
                </a:solidFill>
              </a:defRPr>
            </a:lvl2pPr>
            <a:lvl3pPr algn="ctr">
              <a:defRPr sz="1500" cap="all" spc="37" baseline="0">
                <a:solidFill>
                  <a:schemeClr val="bg1"/>
                </a:solidFill>
              </a:defRPr>
            </a:lvl3pPr>
            <a:lvl4pPr algn="ctr">
              <a:defRPr sz="1500" cap="all" spc="37" baseline="0">
                <a:solidFill>
                  <a:schemeClr val="bg1"/>
                </a:solidFill>
              </a:defRPr>
            </a:lvl4pPr>
            <a:lvl5pPr algn="ctr">
              <a:defRPr sz="1500" cap="all" spc="37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035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221" y="0"/>
            <a:ext cx="11300003" cy="1143000"/>
          </a:xfrm>
        </p:spPr>
        <p:txBody>
          <a:bodyPr>
            <a:normAutofit/>
          </a:bodyPr>
          <a:lstStyle>
            <a:lvl1pPr>
              <a:defRPr sz="3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222" y="1276756"/>
            <a:ext cx="5486400" cy="501704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051"/>
            </a:lvl6pPr>
            <a:lvl7pPr>
              <a:defRPr sz="1051"/>
            </a:lvl7pPr>
            <a:lvl8pPr>
              <a:defRPr sz="1051"/>
            </a:lvl8pPr>
            <a:lvl9pPr>
              <a:defRPr sz="10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99825" y="1276755"/>
            <a:ext cx="5486400" cy="510458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051"/>
            </a:lvl6pPr>
            <a:lvl7pPr>
              <a:defRPr sz="1051"/>
            </a:lvl7pPr>
            <a:lvl8pPr>
              <a:defRPr sz="1051"/>
            </a:lvl8pPr>
            <a:lvl9pPr>
              <a:defRPr sz="10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76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222" y="9727"/>
            <a:ext cx="10820232" cy="1143000"/>
          </a:xfrm>
        </p:spPr>
        <p:txBody>
          <a:bodyPr anchor="ctr">
            <a:normAutofit/>
          </a:bodyPr>
          <a:lstStyle>
            <a:lvl1pPr>
              <a:defRPr sz="3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222" y="1382173"/>
            <a:ext cx="5339927" cy="6858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799" b="1" cap="all" baseline="0">
                <a:latin typeface="+mj-lt"/>
              </a:defRPr>
            </a:lvl1pPr>
            <a:lvl2pPr marL="342822" indent="0">
              <a:buNone/>
              <a:defRPr sz="1500" b="1"/>
            </a:lvl2pPr>
            <a:lvl3pPr marL="685646" indent="0">
              <a:buNone/>
              <a:defRPr sz="1351" b="1"/>
            </a:lvl3pPr>
            <a:lvl4pPr marL="1028468" indent="0">
              <a:buNone/>
              <a:defRPr sz="1200" b="1"/>
            </a:lvl4pPr>
            <a:lvl5pPr marL="1371292" indent="0">
              <a:buNone/>
              <a:defRPr sz="1200" b="1"/>
            </a:lvl5pPr>
            <a:lvl6pPr marL="1714114" indent="0">
              <a:buNone/>
              <a:defRPr sz="1200" b="1"/>
            </a:lvl6pPr>
            <a:lvl7pPr marL="2056938" indent="0">
              <a:buNone/>
              <a:defRPr sz="1200" b="1"/>
            </a:lvl7pPr>
            <a:lvl8pPr marL="2399760" indent="0">
              <a:buNone/>
              <a:defRPr sz="1200" b="1"/>
            </a:lvl8pPr>
            <a:lvl9pPr marL="274258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221" y="2077457"/>
            <a:ext cx="5339927" cy="42649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051"/>
            </a:lvl6pPr>
            <a:lvl7pPr>
              <a:defRPr sz="1051"/>
            </a:lvl7pPr>
            <a:lvl8pPr>
              <a:defRPr sz="1051"/>
            </a:lvl8pPr>
            <a:lvl9pPr>
              <a:defRPr sz="10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29009" y="1403023"/>
            <a:ext cx="5334000" cy="6858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799" b="1" cap="all" baseline="0">
                <a:latin typeface="+mj-lt"/>
              </a:defRPr>
            </a:lvl1pPr>
            <a:lvl2pPr marL="342822" indent="0">
              <a:buNone/>
              <a:defRPr sz="1500" b="1"/>
            </a:lvl2pPr>
            <a:lvl3pPr marL="685646" indent="0">
              <a:buNone/>
              <a:defRPr sz="1351" b="1"/>
            </a:lvl3pPr>
            <a:lvl4pPr marL="1028468" indent="0">
              <a:buNone/>
              <a:defRPr sz="1200" b="1"/>
            </a:lvl4pPr>
            <a:lvl5pPr marL="1371292" indent="0">
              <a:buNone/>
              <a:defRPr sz="1200" b="1"/>
            </a:lvl5pPr>
            <a:lvl6pPr marL="1714114" indent="0">
              <a:buNone/>
              <a:defRPr sz="1200" b="1"/>
            </a:lvl6pPr>
            <a:lvl7pPr marL="2056938" indent="0">
              <a:buNone/>
              <a:defRPr sz="1200" b="1"/>
            </a:lvl7pPr>
            <a:lvl8pPr marL="2399760" indent="0">
              <a:buNone/>
              <a:defRPr sz="1200" b="1"/>
            </a:lvl8pPr>
            <a:lvl9pPr marL="274258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29009" y="2111897"/>
            <a:ext cx="5334000" cy="423053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051"/>
            </a:lvl6pPr>
            <a:lvl7pPr>
              <a:defRPr sz="1051"/>
            </a:lvl7pPr>
            <a:lvl8pPr>
              <a:defRPr sz="1051"/>
            </a:lvl8pPr>
            <a:lvl9pPr>
              <a:defRPr sz="10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60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222" y="9727"/>
            <a:ext cx="11353506" cy="1143000"/>
          </a:xfrm>
        </p:spPr>
        <p:txBody>
          <a:bodyPr anchor="ctr">
            <a:normAutofit/>
          </a:bodyPr>
          <a:lstStyle>
            <a:lvl1pPr>
              <a:defRPr sz="3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5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590800" y="3581400"/>
            <a:ext cx="6756400" cy="1066800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59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508000" y="533403"/>
            <a:ext cx="11176000" cy="2551093"/>
          </a:xfrm>
        </p:spPr>
        <p:txBody>
          <a:bodyPr>
            <a:normAutofit/>
          </a:bodyPr>
          <a:lstStyle>
            <a:lvl1pPr>
              <a:defRPr sz="53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8">
            <a:extLst>
              <a:ext uri="{FF2B5EF4-FFF2-40B4-BE49-F238E27FC236}">
                <a16:creationId xmlns:a16="http://schemas.microsoft.com/office/drawing/2014/main" id="{CBE65957-A5A6-42F5-9740-F4E56DCF89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2349" y="0"/>
            <a:ext cx="543429" cy="325556"/>
          </a:xfrm>
        </p:spPr>
        <p:txBody>
          <a:bodyPr/>
          <a:lstStyle/>
          <a:p>
            <a:fld id="{1654B4FF-F69B-2342-AEB2-F78AA03965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8463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01489" y="616796"/>
            <a:ext cx="1125069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7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101490" y="9728"/>
            <a:ext cx="11250689" cy="5737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101489" y="1527293"/>
            <a:ext cx="11250690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F210B3-D561-49C4-B40B-35FE305792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5B9BC6D-4618-43C5-911F-625754517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547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bg>
      <p:bgPr>
        <a:solidFill>
          <a:srgbClr val="057D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04800" y="304800"/>
            <a:ext cx="11582400" cy="6248400"/>
          </a:xfrm>
          <a:prstGeom prst="rect">
            <a:avLst/>
          </a:prstGeom>
          <a:noFill/>
          <a:ln w="508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5025" y="819997"/>
            <a:ext cx="10515600" cy="2743200"/>
          </a:xfrm>
        </p:spPr>
        <p:txBody>
          <a:bodyPr anchor="b">
            <a:normAutofit/>
          </a:bodyPr>
          <a:lstStyle>
            <a:lvl1pPr algn="ctr"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35025" y="3621194"/>
            <a:ext cx="10515600" cy="914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cap="all" spc="50" baseline="0">
                <a:solidFill>
                  <a:schemeClr val="bg1"/>
                </a:solidFill>
              </a:defRPr>
            </a:lvl1pPr>
            <a:lvl2pPr marL="365760" indent="0" algn="ctr">
              <a:buNone/>
              <a:defRPr sz="2000" cap="all" spc="50" baseline="0">
                <a:solidFill>
                  <a:schemeClr val="bg1"/>
                </a:solidFill>
              </a:defRPr>
            </a:lvl2pPr>
            <a:lvl3pPr algn="ctr">
              <a:defRPr sz="2000" cap="all" spc="50" baseline="0">
                <a:solidFill>
                  <a:schemeClr val="bg1"/>
                </a:solidFill>
              </a:defRPr>
            </a:lvl3pPr>
            <a:lvl4pPr algn="ctr">
              <a:defRPr sz="2000" cap="all" spc="50" baseline="0">
                <a:solidFill>
                  <a:schemeClr val="bg1"/>
                </a:solidFill>
              </a:defRPr>
            </a:lvl4pPr>
            <a:lvl5pPr algn="ctr">
              <a:defRPr sz="2000" cap="all" spc="5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51B7FAD-826F-453B-B7E5-66816E8FAC7B}"/>
              </a:ext>
            </a:extLst>
          </p:cNvPr>
          <p:cNvSpPr/>
          <p:nvPr userDrawn="1"/>
        </p:nvSpPr>
        <p:spPr>
          <a:xfrm>
            <a:off x="4108533" y="6147881"/>
            <a:ext cx="39749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i="1">
                <a:solidFill>
                  <a:srgbClr val="E9C73D"/>
                </a:solidFill>
              </a:rPr>
              <a:t>Investing for tomorrow, </a:t>
            </a:r>
            <a:r>
              <a:rPr lang="en-US" sz="1800" i="1">
                <a:solidFill>
                  <a:srgbClr val="D8892A"/>
                </a:solidFill>
              </a:rPr>
              <a:t>delivering today.</a:t>
            </a:r>
          </a:p>
        </p:txBody>
      </p:sp>
    </p:spTree>
    <p:extLst>
      <p:ext uri="{BB962C8B-B14F-4D97-AF65-F5344CB8AC3E}">
        <p14:creationId xmlns:p14="http://schemas.microsoft.com/office/powerpoint/2010/main" val="3505904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812" y="1672934"/>
            <a:ext cx="3506788" cy="2880360"/>
          </a:xfrm>
        </p:spPr>
        <p:txBody>
          <a:bodyPr anchor="b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352" y="457200"/>
            <a:ext cx="7242111" cy="5715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51812" y="4590288"/>
            <a:ext cx="3514564" cy="1581912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1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79DD78E-BA67-4CA8-B5E4-385AF6FFD605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891BC-8F63-4701-95CA-6720CB39DD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370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1001"/>
            <a:ext cx="5715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955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1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7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123866"/>
            <a:ext cx="11162349" cy="4888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90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F210B3-D561-49C4-B40B-35FE305792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5B9BC6D-4618-43C5-911F-625754517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33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A90AE5-1BB1-4AD7-981E-8C7E8DA11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222" y="14272"/>
            <a:ext cx="11031559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F49895-92DC-45A0-8EF9-A1B7CE5DE4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46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4DB538-6CDA-4E91-ADF3-0A0B05A04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000" y="888274"/>
            <a:ext cx="11430000" cy="252549"/>
          </a:xfrm>
        </p:spPr>
        <p:txBody>
          <a:bodyPr anchor="t"/>
          <a:lstStyle>
            <a:lvl1pPr marL="0" algn="l" defTabSz="914400" rtl="0" eaLnBrk="1" latinLnBrk="0" hangingPunct="1">
              <a:lnSpc>
                <a:spcPct val="80000"/>
              </a:lnSpc>
              <a:spcAft>
                <a:spcPts val="0"/>
              </a:spcAft>
              <a:defRPr lang="en-US" sz="1800" kern="1200" dirty="0">
                <a:solidFill>
                  <a:schemeClr val="accent2"/>
                </a:solidFill>
                <a:latin typeface="Graphik Medium" panose="020B0503030202060203" pitchFamily="34" charset="77"/>
                <a:ea typeface="Open Sans" charset="0"/>
                <a:cs typeface="Open Sans" charset="0"/>
              </a:defRPr>
            </a:lvl1pPr>
          </a:lstStyle>
          <a:p>
            <a:pPr lvl="0"/>
            <a:r>
              <a:rPr lang="en-US"/>
              <a:t>Click to edit subhead text</a:t>
            </a:r>
          </a:p>
        </p:txBody>
      </p:sp>
      <p:sp>
        <p:nvSpPr>
          <p:cNvPr id="2" name="Title 10">
            <a:extLst>
              <a:ext uri="{FF2B5EF4-FFF2-40B4-BE49-F238E27FC236}">
                <a16:creationId xmlns:a16="http://schemas.microsoft.com/office/drawing/2014/main" id="{42D7A99A-1978-A0F7-7E47-486C18B187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0999"/>
            <a:ext cx="11430000" cy="446315"/>
          </a:xfrm>
        </p:spPr>
        <p:txBody>
          <a:bodyPr anchor="t"/>
          <a:lstStyle>
            <a:lvl1pPr>
              <a:defRPr>
                <a:latin typeface="Graphik" panose="020B0503030202060203" pitchFamily="34" charset="0"/>
              </a:defRPr>
            </a:lvl1pPr>
          </a:lstStyle>
          <a:p>
            <a:r>
              <a:rPr lang="en-US"/>
              <a:t>Click to edit title text</a:t>
            </a:r>
          </a:p>
        </p:txBody>
      </p:sp>
    </p:spTree>
    <p:extLst>
      <p:ext uri="{BB962C8B-B14F-4D97-AF65-F5344CB8AC3E}">
        <p14:creationId xmlns:p14="http://schemas.microsoft.com/office/powerpoint/2010/main" val="28898792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bg>
      <p:bgPr>
        <a:solidFill>
          <a:srgbClr val="057D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04800" y="304800"/>
            <a:ext cx="11582400" cy="6248400"/>
          </a:xfrm>
          <a:prstGeom prst="rect">
            <a:avLst/>
          </a:prstGeom>
          <a:noFill/>
          <a:ln w="508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5025" y="819997"/>
            <a:ext cx="10515600" cy="2743200"/>
          </a:xfrm>
        </p:spPr>
        <p:txBody>
          <a:bodyPr anchor="b">
            <a:normAutofit/>
          </a:bodyPr>
          <a:lstStyle>
            <a:lvl1pPr algn="ctr">
              <a:defRPr sz="4000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35025" y="3621194"/>
            <a:ext cx="10515600" cy="9144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cap="all" spc="50" baseline="0">
                <a:solidFill>
                  <a:schemeClr val="bg1"/>
                </a:solidFill>
              </a:defRPr>
            </a:lvl1pPr>
            <a:lvl2pPr marL="365760" indent="0" algn="ctr">
              <a:buNone/>
              <a:defRPr sz="2000" cap="all" spc="50" baseline="0">
                <a:solidFill>
                  <a:schemeClr val="bg1"/>
                </a:solidFill>
              </a:defRPr>
            </a:lvl2pPr>
            <a:lvl3pPr algn="ctr">
              <a:defRPr sz="2000" cap="all" spc="50" baseline="0">
                <a:solidFill>
                  <a:schemeClr val="bg1"/>
                </a:solidFill>
              </a:defRPr>
            </a:lvl3pPr>
            <a:lvl4pPr algn="ctr">
              <a:defRPr sz="2000" cap="all" spc="50" baseline="0">
                <a:solidFill>
                  <a:schemeClr val="bg1"/>
                </a:solidFill>
              </a:defRPr>
            </a:lvl4pPr>
            <a:lvl5pPr algn="ctr">
              <a:defRPr sz="2000" cap="all" spc="5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51B7FAD-826F-453B-B7E5-66816E8FAC7B}"/>
              </a:ext>
            </a:extLst>
          </p:cNvPr>
          <p:cNvSpPr/>
          <p:nvPr userDrawn="1"/>
        </p:nvSpPr>
        <p:spPr>
          <a:xfrm>
            <a:off x="4108533" y="6147881"/>
            <a:ext cx="39749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i="1">
                <a:solidFill>
                  <a:srgbClr val="E9C73D"/>
                </a:solidFill>
              </a:rPr>
              <a:t>Investing for tomorrow, </a:t>
            </a:r>
            <a:r>
              <a:rPr lang="en-US" sz="1800" i="1">
                <a:solidFill>
                  <a:srgbClr val="D8892A"/>
                </a:solidFill>
              </a:rPr>
              <a:t>delivering today.</a:t>
            </a:r>
          </a:p>
        </p:txBody>
      </p:sp>
    </p:spTree>
    <p:extLst>
      <p:ext uri="{BB962C8B-B14F-4D97-AF65-F5344CB8AC3E}">
        <p14:creationId xmlns:p14="http://schemas.microsoft.com/office/powerpoint/2010/main" val="2031773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1812" y="1672934"/>
            <a:ext cx="3506788" cy="2880360"/>
          </a:xfrm>
        </p:spPr>
        <p:txBody>
          <a:bodyPr anchor="b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352" y="457200"/>
            <a:ext cx="7242111" cy="5715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51812" y="4590288"/>
            <a:ext cx="3514564" cy="1581912"/>
          </a:xfrm>
        </p:spPr>
        <p:txBody>
          <a:bodyPr/>
          <a:lstStyle>
            <a:lvl1pPr marL="0" indent="0">
              <a:spcBef>
                <a:spcPts val="800"/>
              </a:spcBef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04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79DD78E-BA67-4CA8-B5E4-385AF6FFD605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891BC-8F63-4701-95CA-6720CB39DD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673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1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77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123866"/>
            <a:ext cx="11162349" cy="4888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90"/>
            <a:ext cx="11165416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F210B3-D561-49C4-B40B-35FE305792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5B9BC6D-4618-43C5-911F-6257545173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01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A90AE5-1BB1-4AD7-981E-8C7E8DA11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222" y="14272"/>
            <a:ext cx="11031559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F49895-92DC-45A0-8EF9-A1B7CE5DE4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71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ayou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drawing, table&#10;&#10;Description automatically generated">
            <a:extLst>
              <a:ext uri="{FF2B5EF4-FFF2-40B4-BE49-F238E27FC236}">
                <a16:creationId xmlns:a16="http://schemas.microsoft.com/office/drawing/2014/main" id="{0138FD4E-A38C-4698-9891-78A6928953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6289" y="190287"/>
            <a:ext cx="695659" cy="235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906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centure Reponse Regula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AFA3B330-AA75-AC49-A196-8B8B4C541B3F}"/>
              </a:ext>
            </a:extLst>
          </p:cNvPr>
          <p:cNvSpPr txBox="1"/>
          <p:nvPr userDrawn="1"/>
        </p:nvSpPr>
        <p:spPr>
          <a:xfrm>
            <a:off x="851877" y="6453718"/>
            <a:ext cx="2009293" cy="23918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304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21 Accenture. All rights reserved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CF97973-6F54-7F44-8BB1-39A1B6C00A70}"/>
              </a:ext>
            </a:extLst>
          </p:cNvPr>
          <p:cNvSpPr txBox="1"/>
          <p:nvPr userDrawn="1"/>
        </p:nvSpPr>
        <p:spPr>
          <a:xfrm>
            <a:off x="11516427" y="6453718"/>
            <a:ext cx="292456" cy="23918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0F471-3972-4120-B8B3-0237DE626C35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94E6CF-BEB9-5544-AF4C-C462E1135C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3118" y="645583"/>
            <a:ext cx="11425767" cy="600711"/>
          </a:xfrm>
        </p:spPr>
        <p:txBody>
          <a:bodyPr/>
          <a:lstStyle>
            <a:lvl1pPr marL="12700" indent="0" algn="l">
              <a:buNone/>
              <a:tabLst/>
              <a:defRPr sz="3200" b="0" i="0">
                <a:latin typeface="Google Sans Medium" panose="020B0503030502040204" pitchFamily="34" charset="0"/>
              </a:defRPr>
            </a:lvl1pPr>
            <a:lvl2pPr marL="795847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BDC6064-CA9E-4288-8442-D62F3267DC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72600" y="6172200"/>
            <a:ext cx="2648320" cy="57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42542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0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2" y="1828803"/>
            <a:ext cx="8572500" cy="4689475"/>
          </a:xfrm>
        </p:spPr>
        <p:txBody>
          <a:bodyPr/>
          <a:lstStyle>
            <a:lvl3pPr marL="514326" indent="-230177">
              <a:buFont typeface="Graphik" panose="020B0503030202060203" pitchFamily="34" charset="0"/>
              <a:buChar char="–"/>
              <a:defRPr/>
            </a:lvl3pPr>
            <a:lvl5pPr marL="857208" indent="-1777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3082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34378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04800" y="304800"/>
            <a:ext cx="11582400" cy="5747657"/>
          </a:xfrm>
          <a:prstGeom prst="rect">
            <a:avLst/>
          </a:prstGeom>
          <a:noFill/>
          <a:ln w="508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1548245"/>
            <a:ext cx="10515600" cy="224028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8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3854659"/>
            <a:ext cx="105156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cap="all" spc="28" baseline="0">
                <a:solidFill>
                  <a:schemeClr val="bg1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AE33E2-9C6A-A04F-9DC0-285BA14FECB9}"/>
              </a:ext>
            </a:extLst>
          </p:cNvPr>
          <p:cNvSpPr/>
          <p:nvPr/>
        </p:nvSpPr>
        <p:spPr>
          <a:xfrm>
            <a:off x="0" y="6372225"/>
            <a:ext cx="12192000" cy="485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F0C57BF7-13D1-04A9-3595-3DCEE25163B1}"/>
              </a:ext>
            </a:extLst>
          </p:cNvPr>
          <p:cNvSpPr txBox="1">
            <a:spLocks/>
          </p:cNvSpPr>
          <p:nvPr userDrawn="1"/>
        </p:nvSpPr>
        <p:spPr>
          <a:xfrm>
            <a:off x="559777" y="6267513"/>
            <a:ext cx="11125200" cy="571500"/>
          </a:xfrm>
          <a:prstGeom prst="rect">
            <a:avLst/>
          </a:prstGeom>
        </p:spPr>
        <p:txBody>
          <a:bodyPr vert="horz" lIns="91428" tIns="45714" rIns="91428" bIns="45714" rtlCol="0"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500" kern="1200" cap="all" spc="38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7A91B">
                  <a:lumMod val="50000"/>
                </a:srgbClr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US" sz="2000" b="0" i="1" u="none" strike="noStrike" kern="1200" cap="all" spc="38" normalizeH="0" baseline="0" noProof="0">
                <a:ln>
                  <a:noFill/>
                </a:ln>
                <a:solidFill>
                  <a:srgbClr val="E9C7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ing for tomorrow, </a:t>
            </a:r>
            <a:r>
              <a:rPr kumimoji="0" lang="en-US" sz="2000" b="0" i="1" u="none" strike="noStrike" kern="1200" cap="all" spc="38" normalizeH="0" baseline="0" noProof="0">
                <a:ln>
                  <a:noFill/>
                </a:ln>
                <a:solidFill>
                  <a:srgbClr val="D889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ing today.</a:t>
            </a:r>
          </a:p>
        </p:txBody>
      </p:sp>
    </p:spTree>
    <p:extLst>
      <p:ext uri="{BB962C8B-B14F-4D97-AF65-F5344CB8AC3E}">
        <p14:creationId xmlns:p14="http://schemas.microsoft.com/office/powerpoint/2010/main" val="41738150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800600"/>
            <a:ext cx="12192000" cy="152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4927601"/>
            <a:ext cx="11125200" cy="872146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600" spc="-2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0"/>
          </p:nvPr>
        </p:nvSpPr>
        <p:spPr>
          <a:xfrm>
            <a:off x="1" y="1"/>
            <a:ext cx="4023360" cy="4745736"/>
          </a:xfrm>
          <a:prstGeom prst="rect">
            <a:avLst/>
          </a:prstGeom>
        </p:spPr>
        <p:txBody>
          <a:bodyPr tIns="457200">
            <a:normAutofit/>
          </a:bodyPr>
          <a:lstStyle>
            <a:lvl1pPr marL="0" indent="0" algn="ctr">
              <a:buNone/>
              <a:defRPr sz="1125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1"/>
          </p:nvPr>
        </p:nvSpPr>
        <p:spPr>
          <a:xfrm>
            <a:off x="4084320" y="1"/>
            <a:ext cx="4023360" cy="4745736"/>
          </a:xfrm>
          <a:prstGeom prst="rect">
            <a:avLst/>
          </a:prstGeom>
        </p:spPr>
        <p:txBody>
          <a:bodyPr tIns="457200">
            <a:normAutofit/>
          </a:bodyPr>
          <a:lstStyle>
            <a:lvl1pPr marL="0" indent="0" algn="ctr">
              <a:buNone/>
              <a:defRPr sz="1125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2"/>
          </p:nvPr>
        </p:nvSpPr>
        <p:spPr>
          <a:xfrm>
            <a:off x="8168640" y="1"/>
            <a:ext cx="4023360" cy="4745736"/>
          </a:xfrm>
          <a:prstGeom prst="rect">
            <a:avLst/>
          </a:prstGeom>
        </p:spPr>
        <p:txBody>
          <a:bodyPr tIns="457200">
            <a:normAutofit/>
          </a:bodyPr>
          <a:lstStyle>
            <a:lvl1pPr marL="0" indent="0" algn="ctr">
              <a:buNone/>
              <a:defRPr sz="1125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0" y="5854610"/>
            <a:ext cx="11125200" cy="3449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400" b="0" i="0" cap="none" spc="28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6111961-1AD3-9A48-80CE-2042AD1E8918}"/>
              </a:ext>
            </a:extLst>
          </p:cNvPr>
          <p:cNvSpPr txBox="1">
            <a:spLocks/>
          </p:cNvSpPr>
          <p:nvPr userDrawn="1"/>
        </p:nvSpPr>
        <p:spPr>
          <a:xfrm>
            <a:off x="559777" y="6267514"/>
            <a:ext cx="11125200" cy="571500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500" kern="1200" cap="all" spc="38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rgbClr val="E9C7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ING FOR TOMORROW, </a:t>
            </a: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rgbClr val="D889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ING TODAY.</a:t>
            </a:r>
          </a:p>
        </p:txBody>
      </p:sp>
    </p:spTree>
    <p:extLst>
      <p:ext uri="{BB962C8B-B14F-4D97-AF65-F5344CB8AC3E}">
        <p14:creationId xmlns:p14="http://schemas.microsoft.com/office/powerpoint/2010/main" val="3014234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349A8A1-2FBB-E542-AA46-4CAEBDE442B4}"/>
              </a:ext>
            </a:extLst>
          </p:cNvPr>
          <p:cNvSpPr/>
          <p:nvPr/>
        </p:nvSpPr>
        <p:spPr>
          <a:xfrm>
            <a:off x="10897644" y="-10972"/>
            <a:ext cx="1294356" cy="13387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66513" y="376180"/>
            <a:ext cx="6326533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insert pictur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8428" y="5197607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8428" y="4895143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27" name="Text Placeholder 234">
            <a:extLst>
              <a:ext uri="{FF2B5EF4-FFF2-40B4-BE49-F238E27FC236}">
                <a16:creationId xmlns:a16="http://schemas.microsoft.com/office/drawing/2014/main" id="{33FA116F-9587-6540-96D2-755EF94449F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68429" y="3859012"/>
            <a:ext cx="4354732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2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8B18EF-B40C-D642-A73F-68FE5DA8C5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8701" y="2756263"/>
            <a:ext cx="4344460" cy="1039944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lnSpc>
                <a:spcPct val="100000"/>
              </a:lnSpc>
              <a:spcAft>
                <a:spcPts val="200"/>
              </a:spcAft>
              <a:defRPr sz="3600" b="0" i="0" spc="-28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3917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063DDD-F91E-4890-893D-157BB443AB3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96803" y="-1079292"/>
            <a:ext cx="6998400" cy="6998400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AU"/>
              <a:t>Click icon to insert picture here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B710530-933A-9548-8DBC-28567CE0AC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8428" y="5197607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6437A40-D576-E547-A4AD-FC17F93180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8428" y="4895143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3" name="Text Placeholder 234">
            <a:extLst>
              <a:ext uri="{FF2B5EF4-FFF2-40B4-BE49-F238E27FC236}">
                <a16:creationId xmlns:a16="http://schemas.microsoft.com/office/drawing/2014/main" id="{7D2AF9BD-4090-4C47-A990-1EF7E544AB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68429" y="3859012"/>
            <a:ext cx="4354732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2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 he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FD1E816-7F9A-BF40-A47C-48D4C07A23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8701" y="2756263"/>
            <a:ext cx="4344460" cy="1039944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lnSpc>
                <a:spcPct val="100000"/>
              </a:lnSpc>
              <a:spcAft>
                <a:spcPts val="200"/>
              </a:spcAft>
              <a:defRPr sz="3600" b="0" i="0" spc="-28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Title he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E37CC58-6E35-3C30-7FF7-A971C0A135C6}"/>
              </a:ext>
            </a:extLst>
          </p:cNvPr>
          <p:cNvGrpSpPr/>
          <p:nvPr userDrawn="1"/>
        </p:nvGrpSpPr>
        <p:grpSpPr>
          <a:xfrm>
            <a:off x="8820721" y="5843016"/>
            <a:ext cx="3385457" cy="1014984"/>
            <a:chOff x="8820721" y="5843016"/>
            <a:chExt cx="3385457" cy="1014984"/>
          </a:xfrm>
        </p:grpSpPr>
        <p:sp>
          <p:nvSpPr>
            <p:cNvPr id="4" name="Footer Placeholder 4">
              <a:extLst>
                <a:ext uri="{FF2B5EF4-FFF2-40B4-BE49-F238E27FC236}">
                  <a16:creationId xmlns:a16="http://schemas.microsoft.com/office/drawing/2014/main" id="{15052EFA-ECB6-9391-7193-31F780CA03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820721" y="6629400"/>
              <a:ext cx="3385457" cy="228600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400" i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1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E9C73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vesting for tomorrow,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A4CF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D8892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livering today</a:t>
              </a: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D8892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8591B4B-04A7-68F4-424E-F872E94F41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1117781" y="5843016"/>
              <a:ext cx="1061149" cy="8042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5321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pos="9760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Text Placeholder 236">
            <a:extLst>
              <a:ext uri="{FF2B5EF4-FFF2-40B4-BE49-F238E27FC236}">
                <a16:creationId xmlns:a16="http://schemas.microsoft.com/office/drawing/2014/main" id="{DF6B3794-3004-48E1-8F0F-88B7E9FEF0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3541480"/>
            <a:ext cx="3192591" cy="14893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4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AU"/>
              <a:t>Some text goes her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2C655E-DCFB-6E48-80F2-45245176A0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92875" y="1505436"/>
            <a:ext cx="720000" cy="720000"/>
          </a:xfrm>
          <a:prstGeom prst="ellipse">
            <a:avLst/>
          </a:prstGeom>
          <a:solidFill>
            <a:srgbClr val="667F14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48EE6E3-505B-5C43-B378-ABE634E8D5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92875" y="2568570"/>
            <a:ext cx="720000" cy="720000"/>
          </a:xfrm>
          <a:prstGeom prst="ellipse">
            <a:avLst/>
          </a:prstGeom>
          <a:solidFill>
            <a:srgbClr val="667F14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BB501D-A190-D743-B077-840264A067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92875" y="3631704"/>
            <a:ext cx="720000" cy="720000"/>
          </a:xfrm>
          <a:prstGeom prst="ellipse">
            <a:avLst/>
          </a:prstGeom>
          <a:solidFill>
            <a:srgbClr val="667F14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08EF5B6-2E23-004F-A478-4B5E68467A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92875" y="4694839"/>
            <a:ext cx="720000" cy="720000"/>
          </a:xfrm>
          <a:prstGeom prst="ellipse">
            <a:avLst/>
          </a:prstGeom>
          <a:solidFill>
            <a:srgbClr val="667F14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3224A1F-B9F4-4748-9A02-AC17ED2B10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61888" y="1505436"/>
            <a:ext cx="4364736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15A7A87-0E3A-D14E-9119-E8AC56ED69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61888" y="1914952"/>
            <a:ext cx="4364736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06F53B89-110F-0E48-B89A-18ADFD40FA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61888" y="2550938"/>
            <a:ext cx="4364736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04662FC-31B2-8741-AB3D-4C90F5F7E3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61888" y="2960454"/>
            <a:ext cx="4364736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C3B8A41-9E55-6B41-8DD0-E0848BA0D5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61888" y="3599450"/>
            <a:ext cx="4364736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7B2D308-E9D8-1E43-A9BE-E54CA552CD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61888" y="4008966"/>
            <a:ext cx="4364736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EDF7840-FD2F-E845-AEE5-4DC183583D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61888" y="4647962"/>
            <a:ext cx="4364736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67ECD486-0868-C149-A8B2-46E4A768A7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61888" y="5057478"/>
            <a:ext cx="4364736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4971EB27-5B91-F646-86C3-AD2AA5266B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0" y="2289295"/>
            <a:ext cx="3192591" cy="1195155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lnSpc>
                <a:spcPct val="100000"/>
              </a:lnSpc>
              <a:spcAft>
                <a:spcPts val="200"/>
              </a:spcAft>
              <a:defRPr sz="3200" b="0" i="0" spc="-28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7730FF-8B3F-CD5F-9CAB-2740D8EDF0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8700" y="699221"/>
            <a:ext cx="1157328" cy="958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690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pos="9760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3276F900-2482-0E4B-951B-107D9AFFC5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2762125"/>
            <a:ext cx="2603716" cy="2111280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32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B1C68F-4F37-BA48-AC42-65C60D3CC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rgbClr val="667F14"/>
                </a:solidFill>
              </a:defRPr>
            </a:lvl1pPr>
          </a:lstStyle>
          <a:p>
            <a:r>
              <a:rPr lang="en-US"/>
              <a:t>AGENDA SLIDE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633EA94-3FC6-2148-9D9E-44D10C34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962" y="2477973"/>
            <a:ext cx="2258803" cy="404812"/>
          </a:xfrm>
          <a:prstGeom prst="roundRect">
            <a:avLst/>
          </a:prstGeom>
          <a:solidFill>
            <a:schemeClr val="accent5"/>
          </a:solidFill>
        </p:spPr>
        <p:txBody>
          <a:bodyPr lIns="360000" anchor="ctr" anchorCtr="0"/>
          <a:lstStyle>
            <a:lvl1pPr marL="25717" indent="0" algn="l">
              <a:spcBef>
                <a:spcPts val="0"/>
              </a:spcBef>
              <a:spcAft>
                <a:spcPts val="0"/>
              </a:spcAft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C054B62-5FDE-1448-8A82-0CC229F95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427661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0450D2D-5CBB-3648-B6D6-0F640E147F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76713" y="2762125"/>
            <a:ext cx="2603716" cy="2111280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32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E893BD5-D9C2-3341-BFF1-56593B49F3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74075" y="2477973"/>
            <a:ext cx="2258803" cy="404812"/>
          </a:xfrm>
          <a:prstGeom prst="roundRect">
            <a:avLst/>
          </a:prstGeom>
          <a:solidFill>
            <a:schemeClr val="accent5"/>
          </a:solidFill>
        </p:spPr>
        <p:txBody>
          <a:bodyPr lIns="360000" anchor="ctr" anchorCtr="0"/>
          <a:lstStyle>
            <a:lvl1pPr marL="25717" indent="0" algn="l">
              <a:spcBef>
                <a:spcPts val="0"/>
              </a:spcBef>
              <a:spcAft>
                <a:spcPts val="0"/>
              </a:spcAft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text styles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B7B58E76-DEFF-594E-95FC-B1A4E4084C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76712" y="2427661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C8A5F8C-A353-254C-8D4E-E50A8A61E2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69659" y="2760823"/>
            <a:ext cx="2603716" cy="2111280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32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9F1C35E-77F9-0949-82C4-3CA589FB5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67021" y="2476671"/>
            <a:ext cx="2258803" cy="404812"/>
          </a:xfrm>
          <a:prstGeom prst="roundRect">
            <a:avLst/>
          </a:prstGeom>
          <a:solidFill>
            <a:schemeClr val="accent5"/>
          </a:solidFill>
        </p:spPr>
        <p:txBody>
          <a:bodyPr lIns="360000" anchor="ctr" anchorCtr="0"/>
          <a:lstStyle>
            <a:lvl1pPr marL="25717" indent="0" algn="l">
              <a:spcBef>
                <a:spcPts val="0"/>
              </a:spcBef>
              <a:spcAft>
                <a:spcPts val="0"/>
              </a:spcAft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716878EF-1B83-A54D-89AD-00DA874651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9658" y="2426359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D8DAFC69-0641-9C47-83A5-8C98F9F4F6B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958632" y="2760823"/>
            <a:ext cx="2603716" cy="2111280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32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B0505A70-35CE-2E41-A433-C16BFA68A1E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55994" y="2476671"/>
            <a:ext cx="2258803" cy="404812"/>
          </a:xfrm>
          <a:prstGeom prst="roundRect">
            <a:avLst/>
          </a:prstGeom>
          <a:solidFill>
            <a:schemeClr val="accent5"/>
          </a:solidFill>
        </p:spPr>
        <p:txBody>
          <a:bodyPr lIns="360000" anchor="ctr" anchorCtr="0"/>
          <a:lstStyle>
            <a:lvl1pPr marL="25717" indent="0" algn="l">
              <a:spcBef>
                <a:spcPts val="0"/>
              </a:spcBef>
              <a:spcAft>
                <a:spcPts val="0"/>
              </a:spcAft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text styles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11DFA4B0-8D59-B24B-A517-7AC8DFB15D4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58631" y="2426359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74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Agenda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Text Placeholder 236">
            <a:extLst>
              <a:ext uri="{FF2B5EF4-FFF2-40B4-BE49-F238E27FC236}">
                <a16:creationId xmlns:a16="http://schemas.microsoft.com/office/drawing/2014/main" id="{DF6B3794-3004-48E1-8F0F-88B7E9FEF0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3719830"/>
            <a:ext cx="2436922" cy="148938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25717" indent="0">
              <a:lnSpc>
                <a:spcPct val="90000"/>
              </a:lnSpc>
              <a:spcBef>
                <a:spcPts val="0"/>
              </a:spcBef>
              <a:buNone/>
              <a:defRPr sz="1400"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AU"/>
              <a:t>Some text goes here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2C655E-DCFB-6E48-80F2-45245176A0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62537" y="1505436"/>
            <a:ext cx="720000" cy="7200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48EE6E3-505B-5C43-B378-ABE634E8D5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2537" y="2568570"/>
            <a:ext cx="720000" cy="7200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4BB501D-A190-D743-B077-840264A067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62537" y="3631704"/>
            <a:ext cx="720000" cy="7200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08EF5B6-2E23-004F-A478-4B5E68467A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62537" y="4694839"/>
            <a:ext cx="720000" cy="7200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73224A1F-B9F4-4748-9A02-AC17ED2B10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31550" y="1505436"/>
            <a:ext cx="2594611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15A7A87-0E3A-D14E-9119-E8AC56ED69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31550" y="1914952"/>
            <a:ext cx="2594611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06F53B89-110F-0E48-B89A-18ADFD40FA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1550" y="2550938"/>
            <a:ext cx="2594611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04662FC-31B2-8741-AB3D-4C90F5F7E3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31550" y="2960454"/>
            <a:ext cx="2594611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C3B8A41-9E55-6B41-8DD0-E0848BA0D5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1550" y="3599450"/>
            <a:ext cx="2594611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7B2D308-E9D8-1E43-A9BE-E54CA552CD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1550" y="4008966"/>
            <a:ext cx="2594611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1EDF7840-FD2F-E845-AEE5-4DC183583DE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1550" y="4647962"/>
            <a:ext cx="2594611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67ECD486-0868-C149-A8B2-46E4A768A7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1550" y="5057478"/>
            <a:ext cx="2594611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0C468E-0822-B64D-BC2E-6A45EA29341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83871" y="1505436"/>
            <a:ext cx="720000" cy="7200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47FCE40B-8D6B-E148-89F6-BB34D2624AC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83871" y="2568570"/>
            <a:ext cx="720000" cy="7200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82D686B-384D-3744-9DED-CA7ED17686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283871" y="3631704"/>
            <a:ext cx="720000" cy="7200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7687EA3-58A5-A24B-AA52-7C1FB5B6F0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83871" y="4694839"/>
            <a:ext cx="720000" cy="7200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 anchorCtr="0"/>
          <a:lstStyle>
            <a:lvl1pPr marL="25717" indent="0" algn="ctr">
              <a:buNone/>
              <a:defRPr sz="24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2E46B37-F2FB-EC42-A83E-51734EBF0B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152884" y="1505436"/>
            <a:ext cx="2594611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8316382-2F7A-C544-B968-B95BD4AA87C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52884" y="1914952"/>
            <a:ext cx="2594611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C8B6056-E578-AF49-8FC6-E5DD2687A7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52884" y="2550938"/>
            <a:ext cx="2594611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4BF8B91-EB21-8D42-ABC6-1F58599CF50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52884" y="2960454"/>
            <a:ext cx="2594611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B42676F7-E163-844C-A234-DDC919571D6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52884" y="3599450"/>
            <a:ext cx="2594611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B6DE60C-242A-3B40-A36C-1DE106E91D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152884" y="4008966"/>
            <a:ext cx="2594611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144846CB-D33E-1A43-BDCD-21DD292CC39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52884" y="4647962"/>
            <a:ext cx="2594611" cy="344488"/>
          </a:xfrm>
          <a:prstGeom prst="rect">
            <a:avLst/>
          </a:prstGeom>
        </p:spPr>
        <p:txBody>
          <a:bodyPr/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4F64E86B-EFF3-484A-BD9B-E14835C768B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52884" y="5057478"/>
            <a:ext cx="2594611" cy="344488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lnSpc>
                <a:spcPct val="100000"/>
              </a:lnSpc>
              <a:spcBef>
                <a:spcPts val="0"/>
              </a:spcBef>
              <a:buNone/>
              <a:defRPr sz="12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Text he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61B86535-B2E2-554E-B6BF-6A1AD53198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2911" y="2436549"/>
            <a:ext cx="2436922" cy="1195155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3200" b="0" i="0" spc="-28" baseline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9456F9F-1748-E8A2-0AB4-0CEA9F6729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8700" y="699221"/>
            <a:ext cx="1157328" cy="958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473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pos="9760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 b="0" i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1"/>
            <a:ext cx="523376" cy="342900"/>
          </a:xfrm>
        </p:spPr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E344B5F-682B-1542-8BC2-0B76F8EA8C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711087"/>
            <a:ext cx="10972800" cy="4468996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800"/>
            </a:lvl1pPr>
            <a:lvl2pPr>
              <a:spcBef>
                <a:spcPts val="0"/>
              </a:spcBef>
              <a:spcAft>
                <a:spcPts val="200"/>
              </a:spcAft>
              <a:defRPr sz="1600"/>
            </a:lvl2pPr>
            <a:lvl3pPr>
              <a:spcBef>
                <a:spcPts val="0"/>
              </a:spcBef>
              <a:spcAft>
                <a:spcPts val="200"/>
              </a:spcAft>
              <a:defRPr sz="1400"/>
            </a:lvl3pPr>
            <a:lvl4pPr>
              <a:spcBef>
                <a:spcPts val="0"/>
              </a:spcBef>
              <a:spcAft>
                <a:spcPts val="200"/>
              </a:spcAft>
              <a:defRPr sz="1200"/>
            </a:lvl4pPr>
            <a:lvl5pPr>
              <a:spcBef>
                <a:spcPts val="0"/>
              </a:spcBef>
              <a:spcAft>
                <a:spcPts val="200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081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  <p15:guide id="2" pos="731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 b="0" i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4501"/>
            <a:ext cx="10972800" cy="4457700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05740" indent="0">
              <a:buClr>
                <a:schemeClr val="tx1"/>
              </a:buClr>
              <a:buNone/>
              <a:defRPr sz="18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385762" indent="0">
              <a:buClr>
                <a:schemeClr val="tx1"/>
              </a:buClr>
              <a:buNone/>
              <a:defRPr sz="18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565785" indent="0">
              <a:buClr>
                <a:schemeClr val="tx1"/>
              </a:buClr>
              <a:buNone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720090" indent="0">
              <a:buClr>
                <a:schemeClr val="tx1"/>
              </a:buClr>
              <a:buNone/>
              <a:defRPr sz="12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1"/>
            <a:ext cx="523376" cy="342900"/>
          </a:xfrm>
        </p:spPr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68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  <p15:guide id="2" pos="7310">
          <p15:clr>
            <a:srgbClr val="FBAE40"/>
          </p15:clr>
        </p15:guide>
        <p15:guide id="3" orient="horz" pos="388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3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26" indent="-230177">
              <a:buFont typeface="Graphik" panose="020B0503030202060203" pitchFamily="34" charset="0"/>
              <a:buChar char="–"/>
              <a:defRPr sz="1600"/>
            </a:lvl3pPr>
            <a:lvl5pPr marL="857208" indent="-1777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3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26" indent="-230177">
              <a:buFont typeface="Graphik" panose="020B0503030202060203" pitchFamily="34" charset="0"/>
              <a:buChar char="–"/>
              <a:defRPr sz="1600"/>
            </a:lvl3pPr>
            <a:lvl5pPr marL="857208" indent="-177792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771347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04800" y="304800"/>
            <a:ext cx="11582400" cy="6248400"/>
          </a:xfrm>
          <a:prstGeom prst="rect">
            <a:avLst/>
          </a:prstGeom>
          <a:noFill/>
          <a:ln w="508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2483427"/>
            <a:ext cx="10515600" cy="27432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2800" spc="-2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35025" y="5257800"/>
            <a:ext cx="1051560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125" cap="all" spc="28" baseline="0">
                <a:solidFill>
                  <a:schemeClr val="bg1"/>
                </a:solidFill>
              </a:defRPr>
            </a:lvl1pPr>
            <a:lvl2pPr marL="205740" indent="0" algn="ctr">
              <a:buNone/>
              <a:defRPr sz="1125" cap="all" spc="28" baseline="0">
                <a:solidFill>
                  <a:schemeClr val="bg1"/>
                </a:solidFill>
              </a:defRPr>
            </a:lvl2pPr>
            <a:lvl3pPr algn="ctr">
              <a:defRPr sz="1125" cap="all" spc="28" baseline="0">
                <a:solidFill>
                  <a:schemeClr val="bg1"/>
                </a:solidFill>
              </a:defRPr>
            </a:lvl3pPr>
            <a:lvl4pPr algn="ctr">
              <a:defRPr sz="1125" cap="all" spc="28" baseline="0">
                <a:solidFill>
                  <a:schemeClr val="bg1"/>
                </a:solidFill>
              </a:defRPr>
            </a:lvl4pPr>
            <a:lvl5pPr algn="ctr">
              <a:defRPr sz="1125" cap="all" spc="28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4393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_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2057400"/>
            <a:ext cx="10515600" cy="2743200"/>
          </a:xfrm>
        </p:spPr>
        <p:txBody>
          <a:bodyPr anchor="ctr" anchorCtr="0">
            <a:normAutofit/>
          </a:bodyPr>
          <a:lstStyle>
            <a:lvl1pPr algn="ctr">
              <a:lnSpc>
                <a:spcPct val="100000"/>
              </a:lnSpc>
              <a:defRPr sz="3200" spc="-2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9167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14500"/>
            <a:ext cx="5440180" cy="4462272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05740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385762" indent="0">
              <a:buClr>
                <a:schemeClr val="tx1"/>
              </a:buClr>
              <a:buNone/>
              <a:defRPr sz="1600">
                <a:solidFill>
                  <a:schemeClr val="tx1"/>
                </a:solidFill>
              </a:defRPr>
            </a:lvl3pPr>
            <a:lvl4pPr marL="565785" indent="0">
              <a:buClr>
                <a:schemeClr val="tx1"/>
              </a:buClr>
              <a:buNone/>
              <a:defRPr sz="1400">
                <a:solidFill>
                  <a:schemeClr val="tx1"/>
                </a:solidFill>
              </a:defRPr>
            </a:lvl4pPr>
            <a:lvl5pPr marL="720090" indent="0">
              <a:buClr>
                <a:schemeClr val="tx1"/>
              </a:buClr>
              <a:buNone/>
              <a:defRPr sz="1200">
                <a:solidFill>
                  <a:schemeClr val="tx1"/>
                </a:solidFill>
              </a:defRPr>
            </a:lvl5pPr>
            <a:lvl6pPr>
              <a:defRPr sz="788"/>
            </a:lvl6pPr>
            <a:lvl7pPr>
              <a:defRPr sz="788"/>
            </a:lvl7pPr>
            <a:lvl8pPr>
              <a:defRPr sz="788"/>
            </a:lvl8pPr>
            <a:lvl9pPr>
              <a:defRPr sz="78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2220" y="1714500"/>
            <a:ext cx="5440180" cy="4462272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05740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385762" indent="0">
              <a:buClr>
                <a:schemeClr val="tx1"/>
              </a:buClr>
              <a:buNone/>
              <a:defRPr sz="1600">
                <a:solidFill>
                  <a:schemeClr val="tx1"/>
                </a:solidFill>
              </a:defRPr>
            </a:lvl3pPr>
            <a:lvl4pPr marL="565785" indent="0">
              <a:buClr>
                <a:schemeClr val="tx1"/>
              </a:buClr>
              <a:buNone/>
              <a:defRPr sz="1400">
                <a:solidFill>
                  <a:schemeClr val="tx1"/>
                </a:solidFill>
              </a:defRPr>
            </a:lvl4pPr>
            <a:lvl5pPr marL="720090" indent="0">
              <a:buClr>
                <a:schemeClr val="tx1"/>
              </a:buClr>
              <a:buNone/>
              <a:defRPr sz="1200">
                <a:solidFill>
                  <a:schemeClr val="tx1"/>
                </a:solidFill>
              </a:defRPr>
            </a:lvl5pPr>
            <a:lvl6pPr>
              <a:defRPr sz="788"/>
            </a:lvl6pPr>
            <a:lvl7pPr>
              <a:defRPr sz="788"/>
            </a:lvl7pPr>
            <a:lvl8pPr>
              <a:defRPr sz="788"/>
            </a:lvl8pPr>
            <a:lvl9pPr>
              <a:defRPr sz="78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80302DC-42E0-6941-B33A-1A39CC250F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01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14500"/>
            <a:ext cx="5440180" cy="4462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4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200">
                <a:solidFill>
                  <a:schemeClr val="tx1"/>
                </a:solidFill>
              </a:defRPr>
            </a:lvl5pPr>
            <a:lvl6pPr>
              <a:defRPr sz="788"/>
            </a:lvl6pPr>
            <a:lvl7pPr>
              <a:defRPr sz="788"/>
            </a:lvl7pPr>
            <a:lvl8pPr>
              <a:defRPr sz="788"/>
            </a:lvl8pPr>
            <a:lvl9pPr>
              <a:defRPr sz="78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2220" y="1714500"/>
            <a:ext cx="5440180" cy="44622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4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200">
                <a:solidFill>
                  <a:schemeClr val="tx1"/>
                </a:solidFill>
              </a:defRPr>
            </a:lvl5pPr>
            <a:lvl6pPr>
              <a:defRPr sz="788"/>
            </a:lvl6pPr>
            <a:lvl7pPr>
              <a:defRPr sz="788"/>
            </a:lvl7pPr>
            <a:lvl8pPr>
              <a:defRPr sz="788"/>
            </a:lvl8pPr>
            <a:lvl9pPr>
              <a:defRPr sz="78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80302DC-42E0-6941-B33A-1A39CC250F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52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733163"/>
            <a:ext cx="5416298" cy="685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 b="0" i="0" cap="all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481947"/>
            <a:ext cx="5416298" cy="36902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chemeClr val="tx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100">
                <a:solidFill>
                  <a:schemeClr val="tx1"/>
                </a:solidFill>
              </a:defRPr>
            </a:lvl5pPr>
            <a:lvl6pPr>
              <a:defRPr sz="788"/>
            </a:lvl6pPr>
            <a:lvl7pPr>
              <a:defRPr sz="788"/>
            </a:lvl7pPr>
            <a:lvl8pPr>
              <a:defRPr sz="788"/>
            </a:lvl8pPr>
            <a:lvl9pPr>
              <a:defRPr sz="78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199" y="1733163"/>
            <a:ext cx="5410199" cy="685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800" b="0" i="0" cap="all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199" y="2481947"/>
            <a:ext cx="5410199" cy="36902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chemeClr val="tx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100">
                <a:solidFill>
                  <a:schemeClr val="tx1"/>
                </a:solidFill>
              </a:defRPr>
            </a:lvl5pPr>
            <a:lvl6pPr>
              <a:defRPr sz="788"/>
            </a:lvl6pPr>
            <a:lvl7pPr>
              <a:defRPr sz="788"/>
            </a:lvl7pPr>
            <a:lvl8pPr>
              <a:defRPr sz="788"/>
            </a:lvl8pPr>
            <a:lvl9pPr>
              <a:defRPr sz="78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5C96F-4731-084E-8497-47489C9A36AD}" type="datetime1">
              <a:rPr lang="en-US" smtClean="0"/>
              <a:t>11/4/2024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921E724-A2B3-9E49-A0F9-CA97A1B4C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81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4501"/>
            <a:ext cx="10972800" cy="1348739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1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21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5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5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1"/>
            <a:ext cx="523376" cy="342900"/>
          </a:xfrm>
        </p:spPr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hart Placeholder 7">
            <a:extLst>
              <a:ext uri="{FF2B5EF4-FFF2-40B4-BE49-F238E27FC236}">
                <a16:creationId xmlns:a16="http://schemas.microsoft.com/office/drawing/2014/main" id="{654DA04C-D7AC-8944-89E7-B6C04105412A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609600" y="3108960"/>
            <a:ext cx="3457434" cy="3137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E192D940-C44E-B545-A487-176F0AB4C1A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367283" y="3108960"/>
            <a:ext cx="3457434" cy="3137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JP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E664A84A-F72E-3744-BDE4-A9A58AD8CF93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8124966" y="3108960"/>
            <a:ext cx="3457434" cy="31370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JP"/>
              <a:t>Insert Chart</a:t>
            </a:r>
          </a:p>
        </p:txBody>
      </p:sp>
    </p:spTree>
    <p:extLst>
      <p:ext uri="{BB962C8B-B14F-4D97-AF65-F5344CB8AC3E}">
        <p14:creationId xmlns:p14="http://schemas.microsoft.com/office/powerpoint/2010/main" val="4260844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  <p15:guide id="2" pos="731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1"/>
            <a:ext cx="523376" cy="342900"/>
          </a:xfrm>
        </p:spPr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57BE1E4-CB62-1D4D-B9FB-AD789E6E164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10798" y="3108960"/>
            <a:ext cx="2559293" cy="3138969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/>
              <a:t>Insert Picture/Text Block</a:t>
            </a:r>
          </a:p>
          <a:p>
            <a:endParaRPr lang="en-JP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DFCE124D-9170-A947-9E3B-476D7CBDC7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0003" y="3108960"/>
            <a:ext cx="2559293" cy="3138969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FB1F541C-104E-B349-A249-80547C9383B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16935" y="3108960"/>
            <a:ext cx="2559293" cy="3138969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JP"/>
              <a:t>Insert Picture/Text Block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11A9DCCC-8EE0-A940-8126-E1519E1D24F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13867" y="3108960"/>
            <a:ext cx="2559293" cy="3138969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Insert Picture/Text Block</a:t>
            </a:r>
          </a:p>
          <a:p>
            <a:endParaRPr lang="en-US"/>
          </a:p>
          <a:p>
            <a:endParaRPr lang="en-JP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29CF76A-33A9-B249-89A5-8E2019F3AB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14501"/>
            <a:ext cx="10972800" cy="1348739"/>
          </a:xfrm>
          <a:prstGeom prst="rect">
            <a:avLst/>
          </a:prstGeom>
        </p:spPr>
        <p:txBody>
          <a:bodyPr>
            <a:normAutofit/>
          </a:bodyPr>
          <a:lstStyle>
            <a:lvl1pPr marL="25717" indent="0"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buNone/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1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21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5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5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0197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  <p15:guide id="2" pos="731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CD930-0986-814B-8262-2CC7855B4312}" type="datetime1">
              <a:rPr lang="en-US" smtClean="0"/>
              <a:t>11/4/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B1C68F-4F37-BA48-AC42-65C60D3CC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22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B1C68F-4F37-BA48-AC42-65C60D3CC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1C38F730-1341-7D41-952E-FA78CE933A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2966936"/>
            <a:ext cx="3311612" cy="21273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20509068-E800-A749-8134-8F13B1037A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962" y="2682784"/>
            <a:ext cx="2959600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34653F5C-0CF2-9D47-9799-D916E2F1E3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2632472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B3582552-E0BC-264B-A4EE-211C8C703D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9819" y="2966936"/>
            <a:ext cx="3311612" cy="21273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0F3907EB-F75E-5644-A3F8-D91127DFCC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47181" y="2682784"/>
            <a:ext cx="2959600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8939D786-93BA-8D49-A42E-C09592B518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49818" y="2632472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8ACBA69C-29DD-0744-BC50-C89D0C8DBCE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50736" y="2923872"/>
            <a:ext cx="3311612" cy="21273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0FDCD435-72C1-754C-AC11-A7422340D3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8098" y="2639720"/>
            <a:ext cx="2959600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09A292D-9033-9B40-ADDE-8EF2CB446D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50735" y="2589408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45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key poi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3276F900-2482-0E4B-951B-107D9AFFC5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2025173"/>
            <a:ext cx="2979738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B1C68F-4F37-BA48-AC42-65C60D3CC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633EA94-3FC6-2148-9D9E-44D10C34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962" y="1741021"/>
            <a:ext cx="2627615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C054B62-5FDE-1448-8A82-0CC229F95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1690709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0450D2D-5CBB-3648-B6D6-0F640E147F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55268" y="2025173"/>
            <a:ext cx="2979738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C8A5F8C-A353-254C-8D4E-E50A8A61E2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599" y="4383359"/>
            <a:ext cx="2979738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9F1C35E-77F9-0949-82C4-3CA589FB5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961" y="4099207"/>
            <a:ext cx="2627615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716878EF-1B83-A54D-89AD-00DA874651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598" y="4048895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D8DAFC69-0641-9C47-83A5-8C98F9F4F6B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055267" y="4383359"/>
            <a:ext cx="2979738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B0505A70-35CE-2E41-A433-C16BFA68A1E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52629" y="4099207"/>
            <a:ext cx="2627615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11DFA4B0-8D59-B24B-A517-7AC8DFB15D4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55266" y="4048895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3C467A2-EECB-4F49-9116-840AD94C22F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500938" y="1741021"/>
            <a:ext cx="4081462" cy="444411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94BC7BF1-836E-2645-BA96-28B692B456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52629" y="1741021"/>
            <a:ext cx="2627615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5AD81888-BFC7-DE4D-8037-B69D3A0C82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55266" y="1690709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84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20695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3276F900-2482-0E4B-951B-107D9AFFC5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2078963"/>
            <a:ext cx="3311612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B1C68F-4F37-BA48-AC42-65C60D3CC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633EA94-3FC6-2148-9D9E-44D10C342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6962" y="1794811"/>
            <a:ext cx="2872924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C054B62-5FDE-1448-8A82-0CC229F95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" y="1744499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0450D2D-5CBB-3648-B6D6-0F640E147F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49819" y="2078963"/>
            <a:ext cx="3311612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E893BD5-D9C2-3341-BFF1-56593B49F3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47181" y="1794811"/>
            <a:ext cx="2872924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B7B58E76-DEFF-594E-95FC-B1A4E4084C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49818" y="1744499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C8A5F8C-A353-254C-8D4E-E50A8A61E2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599" y="4437149"/>
            <a:ext cx="3311612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9F1C35E-77F9-0949-82C4-3CA589FB5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961" y="4152997"/>
            <a:ext cx="2872924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716878EF-1B83-A54D-89AD-00DA874651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598" y="4102685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D8DAFC69-0641-9C47-83A5-8C98F9F4F6B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49818" y="4437149"/>
            <a:ext cx="3311612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B0505A70-35CE-2E41-A433-C16BFA68A1E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47180" y="4152997"/>
            <a:ext cx="2872924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11DFA4B0-8D59-B24B-A517-7AC8DFB15D4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9817" y="4102685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C0844E24-8F61-A04C-9865-5360C448493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50736" y="2035899"/>
            <a:ext cx="3311612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E39B387E-0D57-E14B-A5B0-A9A37432FA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48098" y="1751747"/>
            <a:ext cx="2872924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B44FBB75-4736-B44D-B153-6F28CC2B6B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50735" y="1701435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1E076433-FE71-CF4B-8175-20A6BA22A22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50735" y="4394085"/>
            <a:ext cx="3311612" cy="18017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lIns="216000" tIns="274320"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146DFC57-0061-5945-BDE7-6DCB38006A0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48097" y="4109933"/>
            <a:ext cx="2872924" cy="404812"/>
          </a:xfrm>
          <a:prstGeom prst="roundRect">
            <a:avLst/>
          </a:prstGeom>
          <a:solidFill>
            <a:schemeClr val="accent5"/>
          </a:solidFill>
        </p:spPr>
        <p:txBody>
          <a:bodyPr lIns="432000" anchor="ctr" anchorCtr="0"/>
          <a:lstStyle>
            <a:lvl1pPr marL="25717" indent="0" algn="l">
              <a:spcBef>
                <a:spcPts val="0"/>
              </a:spcBef>
              <a:buNone/>
              <a:defRPr sz="1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6F92F31E-2890-A645-9DED-E997FFA52DC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50734" y="4059621"/>
            <a:ext cx="539250" cy="505436"/>
          </a:xfrm>
          <a:prstGeom prst="ellipse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 anchorCtr="0"/>
          <a:lstStyle>
            <a:lvl1pPr marL="25717" indent="0" algn="ctr">
              <a:buNone/>
              <a:defRPr sz="1800" b="1"/>
            </a:lvl1pPr>
          </a:lstStyle>
          <a:p>
            <a:pPr lvl="0"/>
            <a:r>
              <a:rPr lang="en-GB"/>
              <a:t>#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1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6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1B1C68F-4F37-BA48-AC42-65C60D3CC9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52748" cy="113958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change to dark gray, sentence case-24pt)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436EB40-C5B8-F642-959C-FA817B71D0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853857"/>
            <a:ext cx="2928937" cy="187801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D417EEEE-1756-2547-A255-C36875296D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99" y="4015122"/>
            <a:ext cx="2928937" cy="187801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223C343A-9ECF-7441-AFD3-15508E4A38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12490" y="1853857"/>
            <a:ext cx="2928937" cy="187801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32BA606E-BDF3-4543-9E58-5AF51A01CC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2489" y="4015122"/>
            <a:ext cx="2928937" cy="187801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20B6D882-9153-BC46-878D-8DA51A19C67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15381" y="1853857"/>
            <a:ext cx="2928937" cy="187801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8CFB041F-96E4-F44F-BB03-A805E110AF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15380" y="4015122"/>
            <a:ext cx="2928937" cy="1878013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105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646B2C33-0C6D-9ABD-3281-8FE9BF261369}"/>
              </a:ext>
            </a:extLst>
          </p:cNvPr>
          <p:cNvGrpSpPr/>
          <p:nvPr userDrawn="1"/>
        </p:nvGrpSpPr>
        <p:grpSpPr>
          <a:xfrm>
            <a:off x="8820721" y="5843016"/>
            <a:ext cx="3385457" cy="1014984"/>
            <a:chOff x="8820721" y="5843016"/>
            <a:chExt cx="3385457" cy="1014984"/>
          </a:xfrm>
        </p:grpSpPr>
        <p:sp>
          <p:nvSpPr>
            <p:cNvPr id="5" name="Footer Placeholder 4">
              <a:extLst>
                <a:ext uri="{FF2B5EF4-FFF2-40B4-BE49-F238E27FC236}">
                  <a16:creationId xmlns:a16="http://schemas.microsoft.com/office/drawing/2014/main" id="{D8964B15-CFAA-D27C-358B-C79E065D3DE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820721" y="6629400"/>
              <a:ext cx="3385457" cy="228600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400" i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1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E9C73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vesting for tomorrow,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A4CF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D8892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livering today</a:t>
              </a: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D8892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6A6792D-D6DD-C216-771E-E28229DB60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1117781" y="5843016"/>
              <a:ext cx="1061149" cy="8042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053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678EC-43D2-4C53-9FAE-D03FA54FF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6FDF36-D417-4CE9-9EF4-715F8ABFE8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8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defRPr sz="16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5AD2A4-EA3E-4C9C-BEA2-95020B5526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00"/>
              </a:spcAft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761A1D-EBBB-41A1-8135-662BBB09D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8BB55B-5E03-44E8-9BE9-DCA1A6D9205F}" type="datetimeFigureOut">
              <a:rPr lang="en-US" smtClean="0"/>
              <a:t>11/4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2BDBF2-91E0-4A8A-82EB-D7393361C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AE8CAA-8DF0-4AB1-B091-1BD8A7797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B1523-85D2-4966-8827-51D3214964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492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2293937"/>
            <a:ext cx="11591925" cy="22701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600"/>
            </a:lvl1pPr>
          </a:lstStyle>
          <a:p>
            <a:pPr lvl="0"/>
            <a:r>
              <a:rPr lang="en-US"/>
              <a:t>Thank You</a:t>
            </a:r>
            <a:endParaRPr lang="en-JP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C7A02B4-32C1-9045-958D-5C25CD60DF24}"/>
              </a:ext>
            </a:extLst>
          </p:cNvPr>
          <p:cNvSpPr/>
          <p:nvPr/>
        </p:nvSpPr>
        <p:spPr>
          <a:xfrm>
            <a:off x="10404764" y="0"/>
            <a:ext cx="1787236" cy="14547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76EF693E-B07B-DE49-284C-2AF17EAFF561}"/>
              </a:ext>
            </a:extLst>
          </p:cNvPr>
          <p:cNvSpPr txBox="1">
            <a:spLocks/>
          </p:cNvSpPr>
          <p:nvPr userDrawn="1"/>
        </p:nvSpPr>
        <p:spPr>
          <a:xfrm>
            <a:off x="559777" y="6267513"/>
            <a:ext cx="11125200" cy="571500"/>
          </a:xfrm>
          <a:prstGeom prst="rect">
            <a:avLst/>
          </a:prstGeom>
        </p:spPr>
        <p:txBody>
          <a:bodyPr vert="horz" lIns="91428" tIns="45714" rIns="91428" bIns="45714" rtlCol="0"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500" kern="1200" cap="all" spc="38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50000"/>
                </a:schemeClr>
              </a:buClr>
              <a:buSzPct val="100000"/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7A91B">
                  <a:lumMod val="50000"/>
                </a:srgbClr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US" sz="2000" b="0" i="1" u="none" strike="noStrike" kern="1200" cap="all" spc="38" normalizeH="0" baseline="0" noProof="0">
                <a:ln>
                  <a:noFill/>
                </a:ln>
                <a:solidFill>
                  <a:srgbClr val="E9C7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ing for tomorrow, </a:t>
            </a:r>
            <a:r>
              <a:rPr kumimoji="0" lang="en-US" sz="2000" b="0" i="1" u="none" strike="noStrike" kern="1200" cap="all" spc="38" normalizeH="0" baseline="0" noProof="0">
                <a:ln>
                  <a:noFill/>
                </a:ln>
                <a:solidFill>
                  <a:srgbClr val="D889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ing today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08B751F-7512-B19A-6877-6BA137A470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76737" y="4438619"/>
            <a:ext cx="2438525" cy="1828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466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r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7422167-B00A-4CA3-A0B5-86BA7803D9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3088" y="6449911"/>
            <a:ext cx="2160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75">
                <a:solidFill>
                  <a:schemeClr val="tx1">
                    <a:alpha val="7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7" name="Footer Placeholder 36">
            <a:extLst>
              <a:ext uri="{FF2B5EF4-FFF2-40B4-BE49-F238E27FC236}">
                <a16:creationId xmlns:a16="http://schemas.microsoft.com/office/drawing/2014/main" id="{11ECC45D-B018-41CE-9D71-3918F4393B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88413" y="6449910"/>
            <a:ext cx="2497139" cy="1398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675">
                <a:solidFill>
                  <a:schemeClr val="tx1">
                    <a:alpha val="70000"/>
                  </a:schemeClr>
                </a:solidFill>
                <a:latin typeface="Graphik" panose="020B0503030202060203" pitchFamily="34" charset="0"/>
              </a:defRPr>
            </a:lvl1pPr>
          </a:lstStyle>
          <a:p>
            <a:r>
              <a:rPr lang="en-AU"/>
              <a:t>   </a:t>
            </a:r>
          </a:p>
        </p:txBody>
      </p:sp>
      <p:sp>
        <p:nvSpPr>
          <p:cNvPr id="8" name="Text Placeholder 234">
            <a:extLst>
              <a:ext uri="{FF2B5EF4-FFF2-40B4-BE49-F238E27FC236}">
                <a16:creationId xmlns:a16="http://schemas.microsoft.com/office/drawing/2014/main" id="{8963F246-8306-437C-A323-BD33529892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171" y="725854"/>
            <a:ext cx="7067831" cy="4570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defRPr sz="3300" b="0"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en-US"/>
              <a:t>Title goes here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CADB0-471E-E7FD-4AAA-8BCB0B3C9E9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8473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143000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4501"/>
            <a:ext cx="10972800" cy="4457700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8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1245C-0C33-3845-98D9-954747E27467}" type="datetime1">
              <a:rPr lang="en-US" smtClean="0"/>
              <a:t>11/4/2024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1"/>
            <a:ext cx="523376" cy="342900"/>
          </a:xfrm>
        </p:spPr>
        <p:txBody>
          <a:bodyPr/>
          <a:lstStyle/>
          <a:p>
            <a:fld id="{1654B4FF-F69B-2342-AEB2-F78AA039659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53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811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Line Headline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45600" y="383452"/>
            <a:ext cx="11509200" cy="777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7901AD-F420-2A42-8FD8-4C60641C4FC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6076" y="813316"/>
            <a:ext cx="11508725" cy="373949"/>
          </a:xfrm>
        </p:spPr>
        <p:txBody>
          <a:bodyPr>
            <a:spAutoFit/>
          </a:bodyPr>
          <a:lstStyle>
            <a:lvl1pPr>
              <a:defRPr sz="1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0ACEEA9-68DC-0C4D-A378-79E236CA5EAA}"/>
              </a:ext>
            </a:extLst>
          </p:cNvPr>
          <p:cNvSpPr txBox="1">
            <a:spLocks/>
          </p:cNvSpPr>
          <p:nvPr userDrawn="1"/>
        </p:nvSpPr>
        <p:spPr>
          <a:xfrm>
            <a:off x="355600" y="6622196"/>
            <a:ext cx="41148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9656606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over">
    <p:bg>
      <p:bgPr>
        <a:gradFill>
          <a:gsLst>
            <a:gs pos="0">
              <a:srgbClr val="F1F3F2"/>
            </a:gs>
            <a:gs pos="37000">
              <a:srgbClr val="F7F7F7"/>
            </a:gs>
            <a:gs pos="68500">
              <a:srgbClr val="FAFAFA"/>
            </a:gs>
            <a:gs pos="100000">
              <a:schemeClr val="bg1"/>
            </a:gs>
          </a:gsLst>
          <a:lin ang="1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79601" y="1462241"/>
            <a:ext cx="5354475" cy="3055169"/>
          </a:xfrm>
        </p:spPr>
        <p:txBody>
          <a:bodyPr tIns="252000" anchor="ctr"/>
          <a:lstStyle>
            <a:lvl1pPr>
              <a:lnSpc>
                <a:spcPct val="70000"/>
              </a:lnSpc>
              <a:defRPr sz="5399" spc="-11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Master title</a:t>
            </a:r>
            <a:endParaRPr lang="en-AU"/>
          </a:p>
        </p:txBody>
      </p: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79602" y="4121699"/>
            <a:ext cx="3856329" cy="1041195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1" i="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LINE</a:t>
            </a:r>
            <a:br>
              <a:rPr lang="en-US"/>
            </a:br>
            <a:r>
              <a:rPr lang="en-US"/>
              <a:t>SECOND LINE</a:t>
            </a:r>
          </a:p>
        </p:txBody>
      </p:sp>
      <p:pic>
        <p:nvPicPr>
          <p:cNvPr id="2050" name="Picture 2" descr="Image result for hsd new mexico logo">
            <a:extLst>
              <a:ext uri="{FF2B5EF4-FFF2-40B4-BE49-F238E27FC236}">
                <a16:creationId xmlns:a16="http://schemas.microsoft.com/office/drawing/2014/main" id="{B4BEC75B-BB1F-4292-A6A2-07B54BA1698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05286" y="5713513"/>
            <a:ext cx="2619375" cy="945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56F06E1-7EAC-4FAC-96CD-033C62AE72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253" y="5894813"/>
            <a:ext cx="1500131" cy="843919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45735DF-984B-4AE6-93F1-42B82BA351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3" y="6477001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sz="1000" smtClean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546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3135" userDrawn="1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3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1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3" y="6519010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2" descr="Image result for hsd new mexico logo">
            <a:extLst>
              <a:ext uri="{FF2B5EF4-FFF2-40B4-BE49-F238E27FC236}">
                <a16:creationId xmlns:a16="http://schemas.microsoft.com/office/drawing/2014/main" id="{7DC84DDD-4F78-492D-A2EC-F683EDA9552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21688" y="2766"/>
            <a:ext cx="1473355" cy="53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6DC1E2E-9BD2-4DC2-8FE0-62125821956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4555" y="4693"/>
            <a:ext cx="1030119" cy="579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87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719" r:id="rId8"/>
  </p:sldLayoutIdLst>
  <p:hf hdr="0"/>
  <p:txStyles>
    <p:titleStyle>
      <a:lvl1pPr marL="0" indent="0" algn="l" defTabSz="914354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0" indent="0" algn="l" defTabSz="914354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37" indent="-230177" algn="l" defTabSz="914354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26" indent="-230177" algn="l" defTabSz="914354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66" indent="-171442" algn="l" defTabSz="91435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08" indent="-177792" algn="l" defTabSz="914354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49" indent="-173030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0" indent="0" algn="l" defTabSz="914354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0" indent="0" algn="l" defTabSz="91435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0" indent="0" algn="l" defTabSz="914354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31" userDrawn="1">
          <p15:clr>
            <a:srgbClr val="F26B43"/>
          </p15:clr>
        </p15:guide>
        <p15:guide id="2" pos="13369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18204" userDrawn="1">
          <p15:clr>
            <a:srgbClr val="F26B43"/>
          </p15:clr>
        </p15:guide>
        <p15:guide id="9" pos="569" userDrawn="1">
          <p15:clr>
            <a:srgbClr val="F26B43"/>
          </p15:clr>
        </p15:guide>
        <p15:guide id="10" orient="horz" pos="10012" userDrawn="1">
          <p15:clr>
            <a:srgbClr val="F26B43"/>
          </p15:clr>
        </p15:guide>
        <p15:guide id="11" pos="9103" userDrawn="1">
          <p15:clr>
            <a:srgbClr val="F26B43"/>
          </p15:clr>
        </p15:guide>
        <p15:guide id="13" pos="4836" userDrawn="1">
          <p15:clr>
            <a:srgbClr val="F26B43"/>
          </p15:clr>
        </p15:guide>
        <p15:guide id="14" pos="17636" userDrawn="1">
          <p15:clr>
            <a:srgbClr val="F26B43"/>
          </p15:clr>
        </p15:guide>
        <p15:guide id="16" orient="horz" pos="569" userDrawn="1">
          <p15:clr>
            <a:srgbClr val="F26B43"/>
          </p15:clr>
        </p15:guide>
        <p15:guide id="17" orient="horz" pos="972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Image result for hsd new mexico logo">
            <a:extLst>
              <a:ext uri="{FF2B5EF4-FFF2-40B4-BE49-F238E27FC236}">
                <a16:creationId xmlns:a16="http://schemas.microsoft.com/office/drawing/2014/main" id="{82C370AE-E5AE-4E84-A4C3-E946597C2F8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21688" y="2766"/>
            <a:ext cx="1473355" cy="53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AB1043-1773-4607-9EA2-B5FC83637B2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4555" y="4693"/>
            <a:ext cx="1030119" cy="57950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1001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1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A2D54065-28DB-4631-8AE0-0C6B1A0ABE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003" y="6519010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sz="1000" smtClean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493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20" r:id="rId6"/>
    <p:sldLayoutId id="2147483722" r:id="rId7"/>
    <p:sldLayoutId id="2147483723" r:id="rId8"/>
    <p:sldLayoutId id="2147483726" r:id="rId9"/>
  </p:sldLayoutIdLst>
  <p:hf hdr="0" ft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Arial Black" panose="020B0A04020102020204" pitchFamily="34" charset="0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ts val="0"/>
        </a:spcBef>
        <a:spcAft>
          <a:spcPts val="11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 Black" panose="020B0A04020102020204" pitchFamily="34" charset="0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Arial Black" panose="020B0A04020102020204" pitchFamily="34" charset="0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0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31" userDrawn="1">
          <p15:clr>
            <a:srgbClr val="F26B43"/>
          </p15:clr>
        </p15:guide>
        <p15:guide id="2" pos="13369" userDrawn="1">
          <p15:clr>
            <a:srgbClr val="F26B43"/>
          </p15:clr>
        </p15:guide>
        <p15:guide id="3" userDrawn="1">
          <p15:clr>
            <a:srgbClr val="F26B43"/>
          </p15:clr>
        </p15:guide>
        <p15:guide id="6" orient="horz" userDrawn="1">
          <p15:clr>
            <a:srgbClr val="F26B43"/>
          </p15:clr>
        </p15:guide>
        <p15:guide id="8" pos="18204" userDrawn="1">
          <p15:clr>
            <a:srgbClr val="F26B43"/>
          </p15:clr>
        </p15:guide>
        <p15:guide id="9" pos="569" userDrawn="1">
          <p15:clr>
            <a:srgbClr val="F26B43"/>
          </p15:clr>
        </p15:guide>
        <p15:guide id="10" orient="horz" pos="10012" userDrawn="1">
          <p15:clr>
            <a:srgbClr val="F26B43"/>
          </p15:clr>
        </p15:guide>
        <p15:guide id="11" pos="9103" userDrawn="1">
          <p15:clr>
            <a:srgbClr val="F26B43"/>
          </p15:clr>
        </p15:guide>
        <p15:guide id="13" pos="4836" userDrawn="1">
          <p15:clr>
            <a:srgbClr val="F26B43"/>
          </p15:clr>
        </p15:guide>
        <p15:guide id="14" pos="17636" userDrawn="1">
          <p15:clr>
            <a:srgbClr val="F26B43"/>
          </p15:clr>
        </p15:guide>
        <p15:guide id="16" orient="horz" pos="569" userDrawn="1">
          <p15:clr>
            <a:srgbClr val="F26B43"/>
          </p15:clr>
        </p15:guide>
        <p15:guide id="17" orient="horz" pos="972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222" y="14272"/>
            <a:ext cx="11031559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222" y="1261566"/>
            <a:ext cx="11031559" cy="5157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62349" y="0"/>
            <a:ext cx="543429" cy="3255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2"/>
                </a:solidFill>
              </a:defRPr>
            </a:lvl1pPr>
          </a:lstStyle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E43D812-5698-426B-A301-828ACAA04970}"/>
              </a:ext>
            </a:extLst>
          </p:cNvPr>
          <p:cNvSpPr txBox="1">
            <a:spLocks/>
          </p:cNvSpPr>
          <p:nvPr userDrawn="1"/>
        </p:nvSpPr>
        <p:spPr>
          <a:xfrm>
            <a:off x="8820721" y="6629400"/>
            <a:ext cx="3385457" cy="2286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4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E9C7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ing for tomorrow,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A4CF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srgbClr val="D889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ing today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D889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6796E3-CD73-4204-32DF-6437B774FA99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1117781" y="5843016"/>
            <a:ext cx="1061149" cy="804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42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85" r:id="rId21"/>
    <p:sldLayoutId id="2147483787" r:id="rId22"/>
    <p:sldLayoutId id="2147483819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646" rtl="0" eaLnBrk="1" latinLnBrk="0" hangingPunct="1">
        <a:lnSpc>
          <a:spcPct val="90000"/>
        </a:lnSpc>
        <a:spcBef>
          <a:spcPct val="0"/>
        </a:spcBef>
        <a:buNone/>
        <a:defRPr sz="3999" kern="1200" cap="all" baseline="0">
          <a:solidFill>
            <a:srgbClr val="057D8E"/>
          </a:solidFill>
          <a:latin typeface="+mj-lt"/>
          <a:ea typeface="+mj-ea"/>
          <a:cs typeface="+mj-cs"/>
        </a:defRPr>
      </a:lvl1pPr>
    </p:titleStyle>
    <p:bodyStyle>
      <a:lvl1pPr marL="205694" indent="-171412" algn="l" defTabSz="685646" rtl="0" eaLnBrk="1" latinLnBrk="0" hangingPunct="1">
        <a:lnSpc>
          <a:spcPct val="90000"/>
        </a:lnSpc>
        <a:spcBef>
          <a:spcPts val="1351"/>
        </a:spcBef>
        <a:buClr>
          <a:srgbClr val="D8892A"/>
        </a:buClr>
        <a:buSzPct val="100000"/>
        <a:buFont typeface="Arial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45671" indent="-171412" algn="l" defTabSz="685646" rtl="0" eaLnBrk="1" latinLnBrk="0" hangingPunct="1">
        <a:lnSpc>
          <a:spcPct val="90000"/>
        </a:lnSpc>
        <a:spcBef>
          <a:spcPts val="600"/>
        </a:spcBef>
        <a:buClr>
          <a:srgbClr val="D8892A"/>
        </a:buClr>
        <a:buSzPct val="100000"/>
        <a:buFont typeface="Arial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46" indent="-171412" algn="l" defTabSz="685646" rtl="0" eaLnBrk="1" latinLnBrk="0" hangingPunct="1">
        <a:lnSpc>
          <a:spcPct val="90000"/>
        </a:lnSpc>
        <a:spcBef>
          <a:spcPts val="600"/>
        </a:spcBef>
        <a:buClr>
          <a:srgbClr val="D8892A"/>
        </a:buClr>
        <a:buSzPct val="100000"/>
        <a:buFont typeface="Arial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91340" indent="-137130" algn="l" defTabSz="685646" rtl="0" eaLnBrk="1" latinLnBrk="0" hangingPunct="1">
        <a:lnSpc>
          <a:spcPct val="90000"/>
        </a:lnSpc>
        <a:spcBef>
          <a:spcPts val="600"/>
        </a:spcBef>
        <a:buClr>
          <a:srgbClr val="D8892A"/>
        </a:buClr>
        <a:buSzPct val="100000"/>
        <a:buFont typeface="Arial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034" indent="-137130" algn="l" defTabSz="685646" rtl="0" eaLnBrk="1" latinLnBrk="0" hangingPunct="1">
        <a:lnSpc>
          <a:spcPct val="90000"/>
        </a:lnSpc>
        <a:spcBef>
          <a:spcPts val="600"/>
        </a:spcBef>
        <a:buClr>
          <a:srgbClr val="D8892A"/>
        </a:buClr>
        <a:buSzPct val="100000"/>
        <a:buFont typeface="Arial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268445" indent="-137130" algn="l" defTabSz="685646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50000"/>
          </a:schemeClr>
        </a:buClr>
        <a:buSzPct val="100000"/>
        <a:buFont typeface="Arial" pitchFamily="34" charset="0"/>
        <a:buChar char="▪"/>
        <a:defRPr sz="1051" kern="1200">
          <a:solidFill>
            <a:schemeClr val="tx1"/>
          </a:solidFill>
          <a:latin typeface="+mn-lt"/>
          <a:ea typeface="+mn-ea"/>
          <a:cs typeface="+mn-cs"/>
        </a:defRPr>
      </a:lvl6pPr>
      <a:lvl7pPr marL="1439856" indent="-137130" algn="l" defTabSz="685646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50000"/>
          </a:schemeClr>
        </a:buClr>
        <a:buSzPct val="100000"/>
        <a:buFont typeface="Arial" pitchFamily="34" charset="0"/>
        <a:buChar char="▪"/>
        <a:defRPr sz="1051" kern="1200">
          <a:solidFill>
            <a:schemeClr val="tx1"/>
          </a:solidFill>
          <a:latin typeface="+mn-lt"/>
          <a:ea typeface="+mn-ea"/>
          <a:cs typeface="+mn-cs"/>
        </a:defRPr>
      </a:lvl7pPr>
      <a:lvl8pPr marL="1611268" indent="-137130" algn="l" defTabSz="685646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50000"/>
          </a:schemeClr>
        </a:buClr>
        <a:buSzPct val="100000"/>
        <a:buFont typeface="Arial" pitchFamily="34" charset="0"/>
        <a:buChar char="▪"/>
        <a:defRPr sz="1051" kern="1200">
          <a:solidFill>
            <a:schemeClr val="tx1"/>
          </a:solidFill>
          <a:latin typeface="+mn-lt"/>
          <a:ea typeface="+mn-ea"/>
          <a:cs typeface="+mn-cs"/>
        </a:defRPr>
      </a:lvl8pPr>
      <a:lvl9pPr marL="1782678" indent="-137130" algn="l" defTabSz="685646" rtl="0" eaLnBrk="1" latinLnBrk="0" hangingPunct="1">
        <a:lnSpc>
          <a:spcPct val="90000"/>
        </a:lnSpc>
        <a:spcBef>
          <a:spcPts val="600"/>
        </a:spcBef>
        <a:buClr>
          <a:schemeClr val="accent1">
            <a:lumMod val="50000"/>
          </a:schemeClr>
        </a:buClr>
        <a:buSzPct val="100000"/>
        <a:buFont typeface="Arial" pitchFamily="34" charset="0"/>
        <a:buChar char="▪"/>
        <a:defRPr sz="10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4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22" algn="l" defTabSz="68564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646" algn="l" defTabSz="68564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468" algn="l" defTabSz="68564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292" algn="l" defTabSz="68564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114" algn="l" defTabSz="68564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6938" algn="l" defTabSz="68564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399760" algn="l" defTabSz="68564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2582" algn="l" defTabSz="68564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20">
          <p15:clr>
            <a:srgbClr val="F26B43"/>
          </p15:clr>
        </p15:guide>
        <p15:guide id="4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00" y="6487256"/>
            <a:ext cx="6491381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19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87908" y="6487256"/>
            <a:ext cx="1534064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19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810EE76-316A-D447-A65C-E3F4CE1E8C77}" type="datetime1">
              <a:rPr lang="en-US" smtClean="0"/>
              <a:t>11/4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62348" y="1"/>
            <a:ext cx="543429" cy="3255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1654B4FF-F69B-2342-AEB2-F78AA03965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5D101D-FE4F-0945-BA49-544B1DB7A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1988"/>
            <a:ext cx="10972800" cy="11448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Headline(ALL CAPS-28pt)</a:t>
            </a:r>
            <a:br>
              <a:rPr lang="en-US"/>
            </a:br>
            <a:r>
              <a:rPr lang="en-US" sz="2800" cap="none">
                <a:solidFill>
                  <a:schemeClr val="tx1"/>
                </a:solidFill>
              </a:rPr>
              <a:t>Add subheading here(Sentence case-24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8F8BBF-1EC2-1D41-BFFE-8FBF30324E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702935"/>
            <a:ext cx="10972800" cy="4471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8C4B76D-0C2D-A8A2-BAFA-1033941D70A7}"/>
              </a:ext>
            </a:extLst>
          </p:cNvPr>
          <p:cNvGrpSpPr/>
          <p:nvPr userDrawn="1"/>
        </p:nvGrpSpPr>
        <p:grpSpPr>
          <a:xfrm>
            <a:off x="8820721" y="5843016"/>
            <a:ext cx="3385457" cy="1014984"/>
            <a:chOff x="8820721" y="5843016"/>
            <a:chExt cx="3385457" cy="1014984"/>
          </a:xfrm>
        </p:grpSpPr>
        <p:sp>
          <p:nvSpPr>
            <p:cNvPr id="8" name="Footer Placeholder 4">
              <a:extLst>
                <a:ext uri="{FF2B5EF4-FFF2-40B4-BE49-F238E27FC236}">
                  <a16:creationId xmlns:a16="http://schemas.microsoft.com/office/drawing/2014/main" id="{3B78CA1C-5BA4-3FB8-E6EC-0B577FBB8FF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820721" y="6629400"/>
              <a:ext cx="3385457" cy="228600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ctr" defTabSz="914400" rtl="0" eaLnBrk="1" latinLnBrk="0" hangingPunct="1">
                <a:defRPr sz="1400" i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1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E9C73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vesting for tomorrow,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A4CF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srgbClr val="D8892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livering today</a:t>
              </a:r>
              <a:r>
                <a:rPr kumimoji="0" lang="en-US" sz="1400" b="0" i="1" u="none" strike="noStrike" kern="1200" cap="none" spc="0" normalizeH="0" baseline="0" noProof="0">
                  <a:ln>
                    <a:noFill/>
                  </a:ln>
                  <a:solidFill>
                    <a:srgbClr val="D8892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C33AFFD-27D8-A814-CC87-335BB489F4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/>
            <a:stretch>
              <a:fillRect/>
            </a:stretch>
          </p:blipFill>
          <p:spPr>
            <a:xfrm>
              <a:off x="11117781" y="5843016"/>
              <a:ext cx="1061149" cy="8042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19048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18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54305" indent="-128588" algn="l" defTabSz="514350" rtl="0" eaLnBrk="1" latinLnBrk="0" hangingPunct="1">
        <a:lnSpc>
          <a:spcPct val="90000"/>
        </a:lnSpc>
        <a:spcBef>
          <a:spcPts val="1013"/>
        </a:spcBef>
        <a:buClr>
          <a:schemeClr val="tx1"/>
        </a:buClr>
        <a:buSzPct val="100000"/>
        <a:buFont typeface="Arial" pitchFamily="34" charset="0"/>
        <a:buChar char="▪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34328" indent="-128588" algn="l" defTabSz="51435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SzPct val="100000"/>
        <a:buFont typeface="Arial" pitchFamily="34" charset="0"/>
        <a:buChar char="▪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28588" algn="l" defTabSz="51435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SzPct val="100000"/>
        <a:buFont typeface="Arial" pitchFamily="34" charset="0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68655" indent="-102870" algn="l" defTabSz="51435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SzPct val="100000"/>
        <a:buFont typeface="Arial" pitchFamily="34" charset="0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22960" indent="-102870" algn="l" defTabSz="51435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SzPct val="100000"/>
        <a:buFont typeface="Arial" pitchFamily="34" charset="0"/>
        <a:buChar char="▪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951548" indent="-102870" algn="l" defTabSz="514350" rtl="0" eaLnBrk="1" latinLnBrk="0" hangingPunct="1">
        <a:lnSpc>
          <a:spcPct val="90000"/>
        </a:lnSpc>
        <a:spcBef>
          <a:spcPts val="450"/>
        </a:spcBef>
        <a:buClr>
          <a:schemeClr val="accent1">
            <a:lumMod val="50000"/>
          </a:schemeClr>
        </a:buClr>
        <a:buSzPct val="100000"/>
        <a:buFont typeface="Arial" pitchFamily="34" charset="0"/>
        <a:buChar char="▪"/>
        <a:defRPr sz="788" kern="1200">
          <a:solidFill>
            <a:schemeClr val="tx1"/>
          </a:solidFill>
          <a:latin typeface="+mn-lt"/>
          <a:ea typeface="+mn-ea"/>
          <a:cs typeface="+mn-cs"/>
        </a:defRPr>
      </a:lvl6pPr>
      <a:lvl7pPr marL="1080135" indent="-102870" algn="l" defTabSz="514350" rtl="0" eaLnBrk="1" latinLnBrk="0" hangingPunct="1">
        <a:lnSpc>
          <a:spcPct val="90000"/>
        </a:lnSpc>
        <a:spcBef>
          <a:spcPts val="450"/>
        </a:spcBef>
        <a:buClr>
          <a:schemeClr val="accent1">
            <a:lumMod val="50000"/>
          </a:schemeClr>
        </a:buClr>
        <a:buSzPct val="100000"/>
        <a:buFont typeface="Arial" pitchFamily="34" charset="0"/>
        <a:buChar char="▪"/>
        <a:defRPr sz="788" kern="1200">
          <a:solidFill>
            <a:schemeClr val="tx1"/>
          </a:solidFill>
          <a:latin typeface="+mn-lt"/>
          <a:ea typeface="+mn-ea"/>
          <a:cs typeface="+mn-cs"/>
        </a:defRPr>
      </a:lvl7pPr>
      <a:lvl8pPr marL="1208723" indent="-102870" algn="l" defTabSz="514350" rtl="0" eaLnBrk="1" latinLnBrk="0" hangingPunct="1">
        <a:lnSpc>
          <a:spcPct val="90000"/>
        </a:lnSpc>
        <a:spcBef>
          <a:spcPts val="450"/>
        </a:spcBef>
        <a:buClr>
          <a:schemeClr val="accent1">
            <a:lumMod val="50000"/>
          </a:schemeClr>
        </a:buClr>
        <a:buSzPct val="100000"/>
        <a:buFont typeface="Arial" pitchFamily="34" charset="0"/>
        <a:buChar char="▪"/>
        <a:defRPr sz="788" kern="1200">
          <a:solidFill>
            <a:schemeClr val="tx1"/>
          </a:solidFill>
          <a:latin typeface="+mn-lt"/>
          <a:ea typeface="+mn-ea"/>
          <a:cs typeface="+mn-cs"/>
        </a:defRPr>
      </a:lvl8pPr>
      <a:lvl9pPr marL="1337310" indent="-102870" algn="l" defTabSz="514350" rtl="0" eaLnBrk="1" latinLnBrk="0" hangingPunct="1">
        <a:lnSpc>
          <a:spcPct val="90000"/>
        </a:lnSpc>
        <a:spcBef>
          <a:spcPts val="450"/>
        </a:spcBef>
        <a:buClr>
          <a:schemeClr val="accent1">
            <a:lumMod val="50000"/>
          </a:schemeClr>
        </a:buClr>
        <a:buSzPct val="100000"/>
        <a:buFont typeface="Arial" pitchFamily="34" charset="0"/>
        <a:buChar char="▪"/>
        <a:defRPr sz="7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827">
          <p15:clr>
            <a:srgbClr val="F26B43"/>
          </p15:clr>
        </p15:guide>
        <p15:guide id="4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hyperlink" Target="https://www.designspiration.net/save/227643052266/" TargetMode="External"/><Relationship Id="rId7" Type="http://schemas.openxmlformats.org/officeDocument/2006/relationships/image" Target="../media/image1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10" Type="http://schemas.openxmlformats.org/officeDocument/2006/relationships/image" Target="../media/image21.emf"/><Relationship Id="rId4" Type="http://schemas.openxmlformats.org/officeDocument/2006/relationships/image" Target="../media/image15.emf"/><Relationship Id="rId9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8139" y="5168027"/>
            <a:ext cx="11125200" cy="914400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YesNM Portal</a:t>
            </a:r>
            <a:br>
              <a:rPr lang="en-US" sz="3200" dirty="0"/>
            </a:br>
            <a:r>
              <a:rPr lang="en-US" sz="3200" dirty="0"/>
              <a:t>Demonstration Meeting for</a:t>
            </a:r>
            <a:br>
              <a:rPr lang="en-US" sz="3200" dirty="0"/>
            </a:br>
            <a:r>
              <a:rPr lang="en-US" sz="3200" dirty="0"/>
              <a:t>Early Childhood Education &amp; Care Department</a:t>
            </a:r>
            <a:br>
              <a:rPr lang="en-US" sz="3200" dirty="0"/>
            </a:br>
            <a:r>
              <a:rPr lang="en-US" sz="1600" dirty="0"/>
              <a:t>11/05/24</a:t>
            </a:r>
            <a:endParaRPr lang="en-US" sz="3200" dirty="0"/>
          </a:p>
        </p:txBody>
      </p:sp>
      <p:pic>
        <p:nvPicPr>
          <p:cNvPr id="7" name="Picture Placeholder 6" descr="A picture containing outdoor, tree, person, grass&#10;&#10;Description automatically generated">
            <a:extLst>
              <a:ext uri="{FF2B5EF4-FFF2-40B4-BE49-F238E27FC236}">
                <a16:creationId xmlns:a16="http://schemas.microsoft.com/office/drawing/2014/main" id="{CBF0E026-21DA-2EC7-1B3F-DEC6F0C2FFEC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3"/>
          <a:srcRect t="322" b="322"/>
          <a:stretch>
            <a:fillRect/>
          </a:stretch>
        </p:blipFill>
        <p:spPr/>
      </p:pic>
      <p:pic>
        <p:nvPicPr>
          <p:cNvPr id="24" name="Picture Placeholder 23" descr="A doctor talking to a patient&#10;&#10;Description automatically generated with low confidence">
            <a:extLst>
              <a:ext uri="{FF2B5EF4-FFF2-40B4-BE49-F238E27FC236}">
                <a16:creationId xmlns:a16="http://schemas.microsoft.com/office/drawing/2014/main" id="{B3D338D4-7762-ED81-237A-FFA15207AAA8}"/>
              </a:ext>
            </a:extLst>
          </p:cNvPr>
          <p:cNvPicPr>
            <a:picLocks noGrp="1" noChangeAspect="1"/>
          </p:cNvPicPr>
          <p:nvPr>
            <p:ph type="pic" idx="11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" r="21"/>
          <a:stretch>
            <a:fillRect/>
          </a:stretch>
        </p:blipFill>
        <p:spPr>
          <a:xfrm>
            <a:off x="8168641" y="-9525"/>
            <a:ext cx="4023360" cy="4745736"/>
          </a:xfr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8139" y="6322457"/>
            <a:ext cx="11125200" cy="45719"/>
          </a:xfrm>
        </p:spPr>
        <p:txBody>
          <a:bodyPr anchor="ctr">
            <a:normAutofit fontScale="25000" lnSpcReduction="20000"/>
          </a:bodyPr>
          <a:lstStyle/>
          <a:p>
            <a:endParaRPr lang="en-US" sz="2800" dirty="0">
              <a:solidFill>
                <a:srgbClr val="FF0000"/>
              </a:solidFill>
              <a:cs typeface="Calibri"/>
            </a:endParaRPr>
          </a:p>
          <a:p>
            <a:endParaRPr lang="en-US" sz="25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2EAD3F5-044A-4131-AB57-D8ECA539D2E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887" r="6858"/>
          <a:stretch/>
        </p:blipFill>
        <p:spPr>
          <a:xfrm>
            <a:off x="4145281" y="-9525"/>
            <a:ext cx="4023360" cy="4775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39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723BF6D-6621-AC45-90F3-8A4DA8928850}"/>
              </a:ext>
            </a:extLst>
          </p:cNvPr>
          <p:cNvSpPr/>
          <p:nvPr/>
        </p:nvSpPr>
        <p:spPr>
          <a:xfrm>
            <a:off x="728063" y="1336569"/>
            <a:ext cx="10778137" cy="609600"/>
          </a:xfrm>
          <a:prstGeom prst="rect">
            <a:avLst/>
          </a:prstGeom>
          <a:solidFill>
            <a:srgbClr val="D67A1E">
              <a:alpha val="1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DB5ACC-0BC4-274F-94F3-59008CE34CAB}"/>
              </a:ext>
            </a:extLst>
          </p:cNvPr>
          <p:cNvSpPr/>
          <p:nvPr/>
        </p:nvSpPr>
        <p:spPr>
          <a:xfrm>
            <a:off x="7905277" y="1338814"/>
            <a:ext cx="1481737" cy="60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9EDAF7-3BFD-2344-98FB-4C8FA1C52B81}"/>
              </a:ext>
            </a:extLst>
          </p:cNvPr>
          <p:cNvSpPr txBox="1"/>
          <p:nvPr/>
        </p:nvSpPr>
        <p:spPr>
          <a:xfrm>
            <a:off x="3193997" y="120728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16827C-FCB8-5849-B2BB-65A53526B72A}"/>
              </a:ext>
            </a:extLst>
          </p:cNvPr>
          <p:cNvSpPr txBox="1"/>
          <p:nvPr/>
        </p:nvSpPr>
        <p:spPr>
          <a:xfrm>
            <a:off x="8049665" y="1207284"/>
            <a:ext cx="1237129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tend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28DA57B-0AC3-7341-AE7B-CF72AEBF4540}"/>
              </a:ext>
            </a:extLst>
          </p:cNvPr>
          <p:cNvCxnSpPr>
            <a:cxnSpLocks/>
          </p:cNvCxnSpPr>
          <p:nvPr/>
        </p:nvCxnSpPr>
        <p:spPr>
          <a:xfrm>
            <a:off x="2438400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F75AC87-7838-7542-B292-1D6A089EE2A2}"/>
              </a:ext>
            </a:extLst>
          </p:cNvPr>
          <p:cNvCxnSpPr>
            <a:cxnSpLocks/>
          </p:cNvCxnSpPr>
          <p:nvPr/>
        </p:nvCxnSpPr>
        <p:spPr>
          <a:xfrm>
            <a:off x="4665552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CF6EFC1-61F9-744B-B86C-037FB393D044}"/>
              </a:ext>
            </a:extLst>
          </p:cNvPr>
          <p:cNvCxnSpPr>
            <a:cxnSpLocks/>
          </p:cNvCxnSpPr>
          <p:nvPr/>
        </p:nvCxnSpPr>
        <p:spPr>
          <a:xfrm>
            <a:off x="7024734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78715F5-6E8F-D643-9F1B-2EA110BA72AE}"/>
              </a:ext>
            </a:extLst>
          </p:cNvPr>
          <p:cNvCxnSpPr>
            <a:cxnSpLocks/>
          </p:cNvCxnSpPr>
          <p:nvPr/>
        </p:nvCxnSpPr>
        <p:spPr>
          <a:xfrm>
            <a:off x="9448800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F7BF767-25C8-E44E-A3A4-2CE3766555B2}"/>
              </a:ext>
            </a:extLst>
          </p:cNvPr>
          <p:cNvSpPr txBox="1"/>
          <p:nvPr/>
        </p:nvSpPr>
        <p:spPr>
          <a:xfrm>
            <a:off x="5660558" y="1207284"/>
            <a:ext cx="112955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gag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58AB4D-6B33-C14D-9B97-844BEF0907DB}"/>
              </a:ext>
            </a:extLst>
          </p:cNvPr>
          <p:cNvSpPr txBox="1"/>
          <p:nvPr/>
        </p:nvSpPr>
        <p:spPr>
          <a:xfrm>
            <a:off x="1011731" y="1209207"/>
            <a:ext cx="99508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cs typeface="Arial"/>
                <a:sym typeface="Arial"/>
              </a:rPr>
              <a:t>entice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rgbClr val="657F14"/>
              </a:solidFill>
              <a:effectLst/>
              <a:uLnTx/>
              <a:uFillTx/>
              <a:latin typeface="Cormorant Garamond"/>
              <a:cs typeface="Arial"/>
              <a:sym typeface="Arial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9E82EB8-4C77-5D44-B9CC-A5D49A0194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6775"/>
          <a:stretch/>
        </p:blipFill>
        <p:spPr>
          <a:xfrm>
            <a:off x="4759510" y="404564"/>
            <a:ext cx="2405888" cy="29704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88C13D2-3336-7F4C-943B-1BE03E8FCB57}"/>
              </a:ext>
            </a:extLst>
          </p:cNvPr>
          <p:cNvSpPr txBox="1"/>
          <p:nvPr/>
        </p:nvSpPr>
        <p:spPr>
          <a:xfrm>
            <a:off x="3877553" y="5248"/>
            <a:ext cx="4169803" cy="60869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 w="0"/>
                <a:solidFill>
                  <a:srgbClr val="595959">
                    <a:lumMod val="50000"/>
                    <a:lumOff val="50000"/>
                  </a:srgbClr>
                </a:solidFill>
                <a:effectLst/>
                <a:uLnTx/>
                <a:uFillTx/>
                <a:latin typeface="Cormorant Garamond" pitchFamily="2" charset="77"/>
                <a:cs typeface="Arial"/>
                <a:sym typeface="Arial"/>
              </a:rPr>
              <a:t>Experien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E4415E-70F8-8C4B-B949-AA6D6CC8BF4F}"/>
              </a:ext>
            </a:extLst>
          </p:cNvPr>
          <p:cNvSpPr txBox="1"/>
          <p:nvPr/>
        </p:nvSpPr>
        <p:spPr>
          <a:xfrm>
            <a:off x="10287000" y="120728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i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970EB0-A9C0-1EA2-2FB9-8313A9CBF283}"/>
              </a:ext>
            </a:extLst>
          </p:cNvPr>
          <p:cNvSpPr txBox="1"/>
          <p:nvPr/>
        </p:nvSpPr>
        <p:spPr>
          <a:xfrm>
            <a:off x="7848600" y="2047003"/>
            <a:ext cx="4706812" cy="118494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 have questions about my case</a:t>
            </a:r>
          </a:p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 need to add members of my household</a:t>
            </a:r>
          </a:p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 need to renew my benefits</a:t>
            </a:r>
          </a:p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 want to update my personal info</a:t>
            </a:r>
            <a:endParaRPr lang="en-US" sz="1400" dirty="0">
              <a:latin typeface="Graphik"/>
            </a:endParaRPr>
          </a:p>
        </p:txBody>
      </p:sp>
      <p:pic>
        <p:nvPicPr>
          <p:cNvPr id="10" name="Picture 9" descr="A screenshot of a web page&#10;&#10;Description automatically generated">
            <a:extLst>
              <a:ext uri="{FF2B5EF4-FFF2-40B4-BE49-F238E27FC236}">
                <a16:creationId xmlns:a16="http://schemas.microsoft.com/office/drawing/2014/main" id="{4C5EB736-4AC2-09DE-4F48-915476B8FA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2491"/>
          <a:stretch/>
        </p:blipFill>
        <p:spPr>
          <a:xfrm>
            <a:off x="7423147" y="3513543"/>
            <a:ext cx="3625853" cy="237931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1" name="Picture 20" descr="A screenshot of a website&#10;&#10;Description automatically generated">
            <a:extLst>
              <a:ext uri="{FF2B5EF4-FFF2-40B4-BE49-F238E27FC236}">
                <a16:creationId xmlns:a16="http://schemas.microsoft.com/office/drawing/2014/main" id="{E4DA0888-3D4E-655C-30F4-C1F644CDD0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0251"/>
          <a:stretch/>
        </p:blipFill>
        <p:spPr>
          <a:xfrm>
            <a:off x="692093" y="3518581"/>
            <a:ext cx="3254142" cy="245062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6" name="Picture 25" descr="A screenshot of a computer&#10;&#10;Description automatically generated">
            <a:extLst>
              <a:ext uri="{FF2B5EF4-FFF2-40B4-BE49-F238E27FC236}">
                <a16:creationId xmlns:a16="http://schemas.microsoft.com/office/drawing/2014/main" id="{F30F27B6-E8B8-C42D-6ED7-BA8E3F8913B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b="43279"/>
          <a:stretch/>
        </p:blipFill>
        <p:spPr>
          <a:xfrm>
            <a:off x="7399298" y="3505200"/>
            <a:ext cx="3649702" cy="246400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92CE90A9-7C16-9146-DA0E-EA94585345D2}"/>
              </a:ext>
            </a:extLst>
          </p:cNvPr>
          <p:cNvSpPr txBox="1"/>
          <p:nvPr/>
        </p:nvSpPr>
        <p:spPr>
          <a:xfrm>
            <a:off x="685800" y="6102939"/>
            <a:ext cx="3056860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Actions and notices</a:t>
            </a:r>
            <a:endParaRPr lang="en-US" sz="10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142B119-1411-F824-C064-F8FDD6D77A50}"/>
              </a:ext>
            </a:extLst>
          </p:cNvPr>
          <p:cNvSpPr txBox="1"/>
          <p:nvPr/>
        </p:nvSpPr>
        <p:spPr>
          <a:xfrm>
            <a:off x="4217050" y="6102939"/>
            <a:ext cx="2948348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Standard Notices</a:t>
            </a:r>
            <a:endParaRPr lang="en-US" sz="10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987CAFA-4560-C0E0-AA16-F708C4AF91F8}"/>
              </a:ext>
            </a:extLst>
          </p:cNvPr>
          <p:cNvSpPr txBox="1"/>
          <p:nvPr/>
        </p:nvSpPr>
        <p:spPr>
          <a:xfrm>
            <a:off x="7399298" y="6096000"/>
            <a:ext cx="3649702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1000" dirty="0">
                <a:solidFill>
                  <a:srgbClr val="595959"/>
                </a:solidFill>
                <a:latin typeface="Graphik"/>
              </a:rPr>
              <a:t>Customer profile</a:t>
            </a:r>
            <a:endParaRPr lang="en-US" sz="1000" dirty="0"/>
          </a:p>
        </p:txBody>
      </p:sp>
      <p:pic>
        <p:nvPicPr>
          <p:cNvPr id="6" name="Picture 5" descr="A screenshot of a application&#10;&#10;Description automatically generated">
            <a:extLst>
              <a:ext uri="{FF2B5EF4-FFF2-40B4-BE49-F238E27FC236}">
                <a16:creationId xmlns:a16="http://schemas.microsoft.com/office/drawing/2014/main" id="{91B8356E-ED95-A57A-35B2-BE361FB0D7E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5963"/>
          <a:stretch/>
        </p:blipFill>
        <p:spPr>
          <a:xfrm>
            <a:off x="4274474" y="3518800"/>
            <a:ext cx="2833499" cy="247222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4699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FCDF6EC-3737-484F-BE40-4F5660C5E5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O 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5A2A449-E97A-4E6A-86E0-145ECFB6077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8482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FCDF6EC-3737-484F-BE40-4F5660C5E5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pen Forum</a:t>
            </a:r>
            <a:br>
              <a:rPr lang="en-US" dirty="0"/>
            </a:br>
            <a:r>
              <a:rPr lang="en-US" dirty="0"/>
              <a:t>Questions &amp; Answer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5A2A449-E97A-4E6A-86E0-145ECFB6077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8257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239A40-ABE5-242B-ED29-669E02576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927513"/>
            <a:ext cx="10515600" cy="716973"/>
          </a:xfrm>
        </p:spPr>
        <p:txBody>
          <a:bodyPr/>
          <a:lstStyle/>
          <a:p>
            <a:r>
              <a:rPr lang="en-US"/>
              <a:t>APPEND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13DEDB-3B28-7F12-A502-BF504766D7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7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DBB166-5768-2AB4-EBFF-8F51D97D1FD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8125" y="0"/>
            <a:ext cx="523875" cy="342900"/>
          </a:xfrm>
        </p:spPr>
        <p:txBody>
          <a:bodyPr/>
          <a:lstStyle/>
          <a:p>
            <a:fld id="{1654B4FF-F69B-2342-AEB2-F78AA039659D}" type="slidenum">
              <a:rPr lang="en-US" smtClean="0"/>
              <a:t>2</a:t>
            </a:fld>
            <a:endParaRPr lang="en-US"/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91223C10-8F0D-EA37-7B5F-4E1FCEF54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5899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38A2379C-0A6A-4165-8CE4-129B8198E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99" y="381000"/>
            <a:ext cx="10972800" cy="700944"/>
          </a:xfrm>
        </p:spPr>
        <p:txBody>
          <a:bodyPr>
            <a:normAutofit/>
          </a:bodyPr>
          <a:lstStyle/>
          <a:p>
            <a:r>
              <a:rPr lang="en-US" dirty="0">
                <a:cs typeface="Calibri" panose="020F0502020204030204" pitchFamily="34" charset="0"/>
              </a:rPr>
              <a:t>Meeting Agenda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8561B24-A191-4923-B71A-B0D04977F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25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A4FAF215-99E1-449E-8BB1-7062EA7D4F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0384974"/>
              </p:ext>
            </p:extLst>
          </p:nvPr>
        </p:nvGraphicFramePr>
        <p:xfrm>
          <a:off x="373380" y="2148943"/>
          <a:ext cx="10947395" cy="35537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9690">
                  <a:extLst>
                    <a:ext uri="{9D8B030D-6E8A-4147-A177-3AD203B41FA5}">
                      <a16:colId xmlns:a16="http://schemas.microsoft.com/office/drawing/2014/main" val="1887659295"/>
                    </a:ext>
                  </a:extLst>
                </a:gridCol>
                <a:gridCol w="2404110">
                  <a:extLst>
                    <a:ext uri="{9D8B030D-6E8A-4147-A177-3AD203B41FA5}">
                      <a16:colId xmlns:a16="http://schemas.microsoft.com/office/drawing/2014/main" val="6586184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508378583"/>
                    </a:ext>
                  </a:extLst>
                </a:gridCol>
                <a:gridCol w="4470395">
                  <a:extLst>
                    <a:ext uri="{9D8B030D-6E8A-4147-A177-3AD203B41FA5}">
                      <a16:colId xmlns:a16="http://schemas.microsoft.com/office/drawing/2014/main" val="372730686"/>
                    </a:ext>
                  </a:extLst>
                </a:gridCol>
              </a:tblGrid>
              <a:tr h="635963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Time </a:t>
                      </a:r>
                      <a:r>
                        <a:rPr lang="en-US" sz="1200" dirty="0"/>
                        <a:t>(MT)</a:t>
                      </a:r>
                      <a:endParaRPr lang="en-US" sz="20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genda Item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Leader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escription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355836030"/>
                  </a:ext>
                </a:extLst>
              </a:tr>
              <a:tr h="91841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8:00am M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Welcome</a:t>
                      </a:r>
                    </a:p>
                    <a:p>
                      <a:pPr algn="ctr"/>
                      <a:r>
                        <a:rPr lang="en-US" sz="1800" dirty="0"/>
                        <a:t>Design Approach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Shanita Harrison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Design Approach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441195637"/>
                  </a:ext>
                </a:extLst>
              </a:tr>
              <a:tr h="999694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 8:10am M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YesNM Portal Demo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bhash, Sindhuri, Sheela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YesNM Unified Portal Demo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848848602"/>
                  </a:ext>
                </a:extLst>
              </a:tr>
              <a:tr h="999694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 8:25am M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Questions &amp; Answers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Shanita Harrison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Open mic to answer verbal and written questions/comments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730897923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1B1A3081-C114-97DD-CD60-DC4ECA5896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2169" y="296466"/>
            <a:ext cx="2378606" cy="131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56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FE32CC-BD7F-433E-A517-35B73D8E652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sign Approach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CB1046-4E20-409C-9F48-7DD80EFB2E4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011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EE05593-8098-2B41-AEAA-C14249E2D441}"/>
              </a:ext>
            </a:extLst>
          </p:cNvPr>
          <p:cNvSpPr/>
          <p:nvPr/>
        </p:nvSpPr>
        <p:spPr>
          <a:xfrm>
            <a:off x="0" y="5248"/>
            <a:ext cx="12192000" cy="6858000"/>
          </a:xfrm>
          <a:prstGeom prst="rect">
            <a:avLst/>
          </a:prstGeom>
          <a:solidFill>
            <a:srgbClr val="F7F0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  <a:hlinkClick r:id="rId3"/>
            </a:endParaRPr>
          </a:p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ormorant Garamond Medium" pitchFamily="2" charset="77"/>
              <a:ea typeface="+mn-ea"/>
              <a:cs typeface="+mn-cs"/>
              <a:sym typeface="Arial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C03C1C19-F287-4345-A8ED-7ABD07E2771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6775"/>
          <a:stretch/>
        </p:blipFill>
        <p:spPr>
          <a:xfrm>
            <a:off x="4759510" y="404564"/>
            <a:ext cx="2405888" cy="29704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B01C8DC-7BE1-424C-8F82-366A55C8C1AA}"/>
              </a:ext>
            </a:extLst>
          </p:cNvPr>
          <p:cNvSpPr txBox="1"/>
          <p:nvPr/>
        </p:nvSpPr>
        <p:spPr>
          <a:xfrm>
            <a:off x="3877553" y="5248"/>
            <a:ext cx="4169803" cy="60869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 w="0"/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ormorant Garamond" pitchFamily="2" charset="77"/>
                <a:ea typeface="+mn-ea"/>
                <a:cs typeface="Arial"/>
                <a:sym typeface="Arial"/>
              </a:rPr>
              <a:t>Experience Drivers 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202BF7BA-7410-E245-BFBF-D3A87F2F4E59}"/>
              </a:ext>
            </a:extLst>
          </p:cNvPr>
          <p:cNvGrpSpPr/>
          <p:nvPr/>
        </p:nvGrpSpPr>
        <p:grpSpPr>
          <a:xfrm>
            <a:off x="4823141" y="1203381"/>
            <a:ext cx="2796695" cy="2145893"/>
            <a:chOff x="1655288" y="1203381"/>
            <a:chExt cx="2796695" cy="2145893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51A40D5-D075-584B-8178-08F171FBADD1}"/>
                </a:ext>
              </a:extLst>
            </p:cNvPr>
            <p:cNvSpPr txBox="1"/>
            <p:nvPr/>
          </p:nvSpPr>
          <p:spPr>
            <a:xfrm>
              <a:off x="1655289" y="2088941"/>
              <a:ext cx="451808" cy="604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D67A1E"/>
                  </a:solidFill>
                  <a:effectLst/>
                  <a:uLnTx/>
                  <a:uFillTx/>
                  <a:latin typeface="Graphik" panose="020B0503030202060203" pitchFamily="34" charset="77"/>
                  <a:ea typeface="+mn-ea"/>
                  <a:cs typeface="Arial"/>
                  <a:sym typeface="Arial"/>
                </a:rPr>
                <a:t>02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25F5EF7-476E-F841-B71B-FEF1C89B95E6}"/>
                </a:ext>
              </a:extLst>
            </p:cNvPr>
            <p:cNvSpPr/>
            <p:nvPr/>
          </p:nvSpPr>
          <p:spPr>
            <a:xfrm>
              <a:off x="1990617" y="1222205"/>
              <a:ext cx="1647375" cy="1647375"/>
            </a:xfrm>
            <a:prstGeom prst="ellipse">
              <a:avLst/>
            </a:prstGeom>
            <a:gradFill>
              <a:gsLst>
                <a:gs pos="10000">
                  <a:schemeClr val="bg1">
                    <a:alpha val="0"/>
                  </a:schemeClr>
                </a:gs>
                <a:gs pos="90000">
                  <a:schemeClr val="bg1">
                    <a:alpha val="3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8CB1B71-E49E-A643-8A6F-A696F734DE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46150" y="1203381"/>
              <a:ext cx="1617024" cy="1584091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9F42513-5134-0343-9C50-CEB52F6CB458}"/>
                </a:ext>
              </a:extLst>
            </p:cNvPr>
            <p:cNvSpPr txBox="1"/>
            <p:nvPr/>
          </p:nvSpPr>
          <p:spPr>
            <a:xfrm>
              <a:off x="1655288" y="2579833"/>
              <a:ext cx="279669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Show M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The Way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E9A3540-1A28-FE42-B8C3-30447B8AD853}"/>
              </a:ext>
            </a:extLst>
          </p:cNvPr>
          <p:cNvGrpSpPr/>
          <p:nvPr/>
        </p:nvGrpSpPr>
        <p:grpSpPr>
          <a:xfrm>
            <a:off x="1655288" y="3958505"/>
            <a:ext cx="2796695" cy="2144469"/>
            <a:chOff x="4823142" y="1204805"/>
            <a:chExt cx="2796695" cy="2144469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B3F8FBC-8567-3745-A3C2-5E62886A63A5}"/>
                </a:ext>
              </a:extLst>
            </p:cNvPr>
            <p:cNvSpPr txBox="1"/>
            <p:nvPr/>
          </p:nvSpPr>
          <p:spPr>
            <a:xfrm>
              <a:off x="4823142" y="2579833"/>
              <a:ext cx="279669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Give Me th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Whole Story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FE9CC7D-BB1D-E848-B76B-2BEDA0AE7093}"/>
                </a:ext>
              </a:extLst>
            </p:cNvPr>
            <p:cNvSpPr txBox="1"/>
            <p:nvPr/>
          </p:nvSpPr>
          <p:spPr>
            <a:xfrm>
              <a:off x="4823143" y="2088941"/>
              <a:ext cx="451808" cy="604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D67A1E"/>
                  </a:solidFill>
                  <a:effectLst/>
                  <a:uLnTx/>
                  <a:uFillTx/>
                  <a:latin typeface="Graphik" panose="020B0503030202060203" pitchFamily="34" charset="77"/>
                  <a:ea typeface="+mn-ea"/>
                  <a:cs typeface="Arial"/>
                  <a:sym typeface="Arial"/>
                </a:rPr>
                <a:t>04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18985C8-7A8E-AF43-A107-4A25C8A2A0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54825" y="1204805"/>
              <a:ext cx="1710573" cy="1582280"/>
            </a:xfrm>
            <a:prstGeom prst="rect">
              <a:avLst/>
            </a:prstGeom>
          </p:spPr>
        </p:pic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C85D9773-432B-0B48-A3B3-296F8056EA61}"/>
                </a:ext>
              </a:extLst>
            </p:cNvPr>
            <p:cNvSpPr/>
            <p:nvPr/>
          </p:nvSpPr>
          <p:spPr>
            <a:xfrm>
              <a:off x="5518023" y="1208758"/>
              <a:ext cx="1647375" cy="1647375"/>
            </a:xfrm>
            <a:prstGeom prst="ellipse">
              <a:avLst/>
            </a:prstGeom>
            <a:gradFill>
              <a:gsLst>
                <a:gs pos="10000">
                  <a:schemeClr val="bg1">
                    <a:alpha val="0"/>
                  </a:schemeClr>
                </a:gs>
                <a:gs pos="90000">
                  <a:schemeClr val="bg1">
                    <a:alpha val="3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6B04D49-2A89-F84F-BA6C-E88A66F774D5}"/>
              </a:ext>
            </a:extLst>
          </p:cNvPr>
          <p:cNvGrpSpPr/>
          <p:nvPr/>
        </p:nvGrpSpPr>
        <p:grpSpPr>
          <a:xfrm>
            <a:off x="8251520" y="1204805"/>
            <a:ext cx="2796695" cy="2144469"/>
            <a:chOff x="8251520" y="1204805"/>
            <a:chExt cx="2796695" cy="2144469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2442BE8-1474-3441-BA7A-6770964DF99F}"/>
                </a:ext>
              </a:extLst>
            </p:cNvPr>
            <p:cNvSpPr txBox="1"/>
            <p:nvPr/>
          </p:nvSpPr>
          <p:spPr>
            <a:xfrm>
              <a:off x="8251520" y="2579833"/>
              <a:ext cx="279669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Mind th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Gap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742247C-D7A0-FA4A-9B88-69636B029CAE}"/>
                </a:ext>
              </a:extLst>
            </p:cNvPr>
            <p:cNvSpPr txBox="1"/>
            <p:nvPr/>
          </p:nvSpPr>
          <p:spPr>
            <a:xfrm>
              <a:off x="8251521" y="2088941"/>
              <a:ext cx="451808" cy="604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D67A1E"/>
                  </a:solidFill>
                  <a:effectLst/>
                  <a:uLnTx/>
                  <a:uFillTx/>
                  <a:latin typeface="Graphik" panose="020B0503030202060203" pitchFamily="34" charset="77"/>
                  <a:ea typeface="+mn-ea"/>
                  <a:cs typeface="Arial"/>
                  <a:sym typeface="Arial"/>
                </a:rPr>
                <a:t>03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16CBE8F-6C3F-A84A-8269-654194053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60528" y="1204805"/>
              <a:ext cx="1719106" cy="1584091"/>
            </a:xfrm>
            <a:prstGeom prst="rect">
              <a:avLst/>
            </a:prstGeom>
          </p:spPr>
        </p:pic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178944D4-1709-8644-95A5-5AE7D713776F}"/>
                </a:ext>
              </a:extLst>
            </p:cNvPr>
            <p:cNvSpPr/>
            <p:nvPr/>
          </p:nvSpPr>
          <p:spPr>
            <a:xfrm>
              <a:off x="8665899" y="1208758"/>
              <a:ext cx="1647375" cy="1647375"/>
            </a:xfrm>
            <a:prstGeom prst="ellipse">
              <a:avLst/>
            </a:prstGeom>
            <a:gradFill>
              <a:gsLst>
                <a:gs pos="10000">
                  <a:schemeClr val="bg1">
                    <a:alpha val="0"/>
                  </a:schemeClr>
                </a:gs>
                <a:gs pos="90000">
                  <a:schemeClr val="bg1">
                    <a:alpha val="3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F0A731D-7B3A-4E45-9522-4FF07C64B47A}"/>
              </a:ext>
            </a:extLst>
          </p:cNvPr>
          <p:cNvGrpSpPr/>
          <p:nvPr/>
        </p:nvGrpSpPr>
        <p:grpSpPr>
          <a:xfrm>
            <a:off x="8246369" y="3869097"/>
            <a:ext cx="2796695" cy="2119938"/>
            <a:chOff x="4823142" y="3869097"/>
            <a:chExt cx="2796695" cy="2119938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6BE1F98-3F3C-B24C-96A0-92A9513F3A72}"/>
                </a:ext>
              </a:extLst>
            </p:cNvPr>
            <p:cNvSpPr txBox="1"/>
            <p:nvPr/>
          </p:nvSpPr>
          <p:spPr>
            <a:xfrm>
              <a:off x="4823142" y="5219594"/>
              <a:ext cx="279669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Build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My Confidence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34CAABBA-7470-CE43-B2A4-73C30658C2EC}"/>
                </a:ext>
              </a:extLst>
            </p:cNvPr>
            <p:cNvSpPr txBox="1"/>
            <p:nvPr/>
          </p:nvSpPr>
          <p:spPr>
            <a:xfrm>
              <a:off x="4823143" y="4728702"/>
              <a:ext cx="451808" cy="604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D67A1E"/>
                  </a:solidFill>
                  <a:effectLst/>
                  <a:uLnTx/>
                  <a:uFillTx/>
                  <a:latin typeface="Graphik" panose="020B0503030202060203" pitchFamily="34" charset="77"/>
                  <a:ea typeface="+mn-ea"/>
                  <a:cs typeface="Arial"/>
                  <a:sym typeface="Arial"/>
                </a:rPr>
                <a:t>06</a:t>
              </a: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9C5BFEB8-CC1E-9A47-9EF1-7C49DA53E797}"/>
                </a:ext>
              </a:extLst>
            </p:cNvPr>
            <p:cNvSpPr/>
            <p:nvPr/>
          </p:nvSpPr>
          <p:spPr>
            <a:xfrm>
              <a:off x="5479254" y="3869097"/>
              <a:ext cx="1647375" cy="1647375"/>
            </a:xfrm>
            <a:prstGeom prst="ellipse">
              <a:avLst/>
            </a:prstGeom>
            <a:gradFill>
              <a:gsLst>
                <a:gs pos="10000">
                  <a:schemeClr val="bg1">
                    <a:alpha val="0"/>
                  </a:schemeClr>
                </a:gs>
                <a:gs pos="90000">
                  <a:schemeClr val="bg1">
                    <a:alpha val="3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A54FB468-0B20-054F-821A-AE99280B945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00419" y="3871244"/>
              <a:ext cx="1464979" cy="1569387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4217A72-FCE6-6E4B-ADEB-4A67ACF2A746}"/>
              </a:ext>
            </a:extLst>
          </p:cNvPr>
          <p:cNvGrpSpPr/>
          <p:nvPr/>
        </p:nvGrpSpPr>
        <p:grpSpPr>
          <a:xfrm>
            <a:off x="4823141" y="3856877"/>
            <a:ext cx="2796695" cy="2132158"/>
            <a:chOff x="8255888" y="3856877"/>
            <a:chExt cx="2796695" cy="2132158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8C903E4-53B1-4F49-BCF5-075C0BE3AFB8}"/>
                </a:ext>
              </a:extLst>
            </p:cNvPr>
            <p:cNvSpPr/>
            <p:nvPr/>
          </p:nvSpPr>
          <p:spPr>
            <a:xfrm>
              <a:off x="8696393" y="3856877"/>
              <a:ext cx="1647375" cy="1647375"/>
            </a:xfrm>
            <a:prstGeom prst="ellipse">
              <a:avLst/>
            </a:prstGeom>
            <a:gradFill>
              <a:gsLst>
                <a:gs pos="10000">
                  <a:schemeClr val="bg1">
                    <a:alpha val="0"/>
                  </a:schemeClr>
                </a:gs>
                <a:gs pos="90000">
                  <a:schemeClr val="bg1">
                    <a:alpha val="3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192A5EA-E528-4745-BD7D-1246AC5E8E74}"/>
                </a:ext>
              </a:extLst>
            </p:cNvPr>
            <p:cNvSpPr txBox="1"/>
            <p:nvPr/>
          </p:nvSpPr>
          <p:spPr>
            <a:xfrm>
              <a:off x="8255888" y="5219594"/>
              <a:ext cx="279669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Speak My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Languag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DEC075F-2874-4948-B665-810A8F16BEB3}"/>
                </a:ext>
              </a:extLst>
            </p:cNvPr>
            <p:cNvSpPr txBox="1"/>
            <p:nvPr/>
          </p:nvSpPr>
          <p:spPr>
            <a:xfrm>
              <a:off x="8255889" y="4728702"/>
              <a:ext cx="451808" cy="604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D67A1E"/>
                  </a:solidFill>
                  <a:effectLst/>
                  <a:uLnTx/>
                  <a:uFillTx/>
                  <a:latin typeface="Graphik" panose="020B0503030202060203" pitchFamily="34" charset="77"/>
                  <a:ea typeface="+mn-ea"/>
                  <a:cs typeface="Arial"/>
                  <a:sym typeface="Arial"/>
                </a:rPr>
                <a:t>05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ECC0812A-60B6-0F46-B452-53E369BDDC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867031" y="3883847"/>
              <a:ext cx="1512603" cy="1620405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D6B5E7E-4607-AB45-B5B1-644E7541385E}"/>
              </a:ext>
            </a:extLst>
          </p:cNvPr>
          <p:cNvGrpSpPr/>
          <p:nvPr/>
        </p:nvGrpSpPr>
        <p:grpSpPr>
          <a:xfrm>
            <a:off x="1655288" y="1203381"/>
            <a:ext cx="2796695" cy="2140893"/>
            <a:chOff x="1655288" y="3883847"/>
            <a:chExt cx="2796695" cy="2140893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5680BD04-BA75-0F46-8DF8-0FA6EAA0DF3E}"/>
                </a:ext>
              </a:extLst>
            </p:cNvPr>
            <p:cNvSpPr/>
            <p:nvPr/>
          </p:nvSpPr>
          <p:spPr>
            <a:xfrm>
              <a:off x="1992000" y="3883847"/>
              <a:ext cx="1647375" cy="1647375"/>
            </a:xfrm>
            <a:prstGeom prst="ellipse">
              <a:avLst/>
            </a:prstGeom>
            <a:gradFill>
              <a:gsLst>
                <a:gs pos="10000">
                  <a:schemeClr val="bg1">
                    <a:alpha val="0"/>
                  </a:schemeClr>
                </a:gs>
                <a:gs pos="90000">
                  <a:schemeClr val="bg1">
                    <a:alpha val="3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999854D-61B5-4945-A2E2-E25117275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107097" y="3883847"/>
              <a:ext cx="1534240" cy="1570148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E157A2F-881A-944C-B2EF-B2897C8C4F7D}"/>
                </a:ext>
              </a:extLst>
            </p:cNvPr>
            <p:cNvSpPr txBox="1"/>
            <p:nvPr/>
          </p:nvSpPr>
          <p:spPr>
            <a:xfrm>
              <a:off x="1655288" y="5255299"/>
              <a:ext cx="279669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Anticipat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ormorant Garamond SemiBold" pitchFamily="2" charset="77"/>
                  <a:ea typeface="+mn-ea"/>
                  <a:cs typeface="Arial"/>
                  <a:sym typeface="Arial"/>
                </a:rPr>
                <a:t>My Needs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1940218-0CDD-AB49-96C6-D9635D61F4E6}"/>
                </a:ext>
              </a:extLst>
            </p:cNvPr>
            <p:cNvSpPr txBox="1"/>
            <p:nvPr/>
          </p:nvSpPr>
          <p:spPr>
            <a:xfrm>
              <a:off x="1655289" y="4764407"/>
              <a:ext cx="451808" cy="604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4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D67A1E"/>
                  </a:solidFill>
                  <a:effectLst/>
                  <a:uLnTx/>
                  <a:uFillTx/>
                  <a:latin typeface="Graphik" panose="020B0503030202060203" pitchFamily="34" charset="77"/>
                  <a:ea typeface="+mn-ea"/>
                  <a:cs typeface="Arial"/>
                  <a:sym typeface="Arial"/>
                </a:rPr>
                <a:t>0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0522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723BF6D-6621-AC45-90F3-8A4DA8928850}"/>
              </a:ext>
            </a:extLst>
          </p:cNvPr>
          <p:cNvSpPr/>
          <p:nvPr/>
        </p:nvSpPr>
        <p:spPr>
          <a:xfrm>
            <a:off x="728063" y="4052809"/>
            <a:ext cx="10778137" cy="609600"/>
          </a:xfrm>
          <a:prstGeom prst="rect">
            <a:avLst/>
          </a:prstGeom>
          <a:solidFill>
            <a:srgbClr val="D67A1E">
              <a:alpha val="1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9EDAF7-3BFD-2344-98FB-4C8FA1C52B81}"/>
              </a:ext>
            </a:extLst>
          </p:cNvPr>
          <p:cNvSpPr txBox="1"/>
          <p:nvPr/>
        </p:nvSpPr>
        <p:spPr>
          <a:xfrm>
            <a:off x="3193997" y="392352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16827C-FCB8-5849-B2BB-65A53526B72A}"/>
              </a:ext>
            </a:extLst>
          </p:cNvPr>
          <p:cNvSpPr txBox="1"/>
          <p:nvPr/>
        </p:nvSpPr>
        <p:spPr>
          <a:xfrm>
            <a:off x="8049665" y="3923524"/>
            <a:ext cx="1237129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tend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28DA57B-0AC3-7341-AE7B-CF72AEBF4540}"/>
              </a:ext>
            </a:extLst>
          </p:cNvPr>
          <p:cNvCxnSpPr>
            <a:cxnSpLocks/>
          </p:cNvCxnSpPr>
          <p:nvPr/>
        </p:nvCxnSpPr>
        <p:spPr>
          <a:xfrm>
            <a:off x="2438400" y="435760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F75AC87-7838-7542-B292-1D6A089EE2A2}"/>
              </a:ext>
            </a:extLst>
          </p:cNvPr>
          <p:cNvCxnSpPr>
            <a:cxnSpLocks/>
          </p:cNvCxnSpPr>
          <p:nvPr/>
        </p:nvCxnSpPr>
        <p:spPr>
          <a:xfrm>
            <a:off x="4665552" y="435760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CF6EFC1-61F9-744B-B86C-037FB393D044}"/>
              </a:ext>
            </a:extLst>
          </p:cNvPr>
          <p:cNvCxnSpPr>
            <a:cxnSpLocks/>
          </p:cNvCxnSpPr>
          <p:nvPr/>
        </p:nvCxnSpPr>
        <p:spPr>
          <a:xfrm>
            <a:off x="7024734" y="435760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78715F5-6E8F-D643-9F1B-2EA110BA72AE}"/>
              </a:ext>
            </a:extLst>
          </p:cNvPr>
          <p:cNvCxnSpPr>
            <a:cxnSpLocks/>
          </p:cNvCxnSpPr>
          <p:nvPr/>
        </p:nvCxnSpPr>
        <p:spPr>
          <a:xfrm>
            <a:off x="9448800" y="435760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F7BF767-25C8-E44E-A3A4-2CE3766555B2}"/>
              </a:ext>
            </a:extLst>
          </p:cNvPr>
          <p:cNvSpPr txBox="1"/>
          <p:nvPr/>
        </p:nvSpPr>
        <p:spPr>
          <a:xfrm>
            <a:off x="5660558" y="3923524"/>
            <a:ext cx="112955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gag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58AB4D-6B33-C14D-9B97-844BEF0907DB}"/>
              </a:ext>
            </a:extLst>
          </p:cNvPr>
          <p:cNvSpPr txBox="1"/>
          <p:nvPr/>
        </p:nvSpPr>
        <p:spPr>
          <a:xfrm>
            <a:off x="1011731" y="3925447"/>
            <a:ext cx="99508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cs typeface="Arial"/>
                <a:sym typeface="Arial"/>
              </a:rPr>
              <a:t>entice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rgbClr val="657F14"/>
              </a:solidFill>
              <a:effectLst/>
              <a:uLnTx/>
              <a:uFillTx/>
              <a:latin typeface="Cormorant Garamond"/>
              <a:cs typeface="Arial"/>
              <a:sym typeface="Arial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9E82EB8-4C77-5D44-B9CC-A5D49A0194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6775"/>
          <a:stretch/>
        </p:blipFill>
        <p:spPr>
          <a:xfrm>
            <a:off x="4759510" y="404564"/>
            <a:ext cx="2405888" cy="29704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88C13D2-3336-7F4C-943B-1BE03E8FCB57}"/>
              </a:ext>
            </a:extLst>
          </p:cNvPr>
          <p:cNvSpPr txBox="1"/>
          <p:nvPr/>
        </p:nvSpPr>
        <p:spPr>
          <a:xfrm>
            <a:off x="3877553" y="5248"/>
            <a:ext cx="4169803" cy="60869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 w="0"/>
                <a:solidFill>
                  <a:srgbClr val="595959">
                    <a:lumMod val="50000"/>
                    <a:lumOff val="50000"/>
                  </a:srgbClr>
                </a:solidFill>
                <a:effectLst/>
                <a:uLnTx/>
                <a:uFillTx/>
                <a:latin typeface="Cormorant Garamond" pitchFamily="2" charset="77"/>
                <a:cs typeface="Arial"/>
                <a:sym typeface="Arial"/>
              </a:rPr>
              <a:t>Experien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5DFCAB-8896-3443-947B-4B811957C4DD}"/>
              </a:ext>
            </a:extLst>
          </p:cNvPr>
          <p:cNvSpPr txBox="1"/>
          <p:nvPr/>
        </p:nvSpPr>
        <p:spPr>
          <a:xfrm>
            <a:off x="730186" y="1447800"/>
            <a:ext cx="8233879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4000" b="1" dirty="0">
                <a:solidFill>
                  <a:schemeClr val="accent1"/>
                </a:solidFill>
                <a:latin typeface="Cormorant Garamond SemiBold"/>
              </a:rPr>
              <a:t>Customers progress through 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ormorant Garamond SemiBold" pitchFamily="2" charset="77"/>
              <a:cs typeface="Arial"/>
              <a:sym typeface="Arial"/>
            </a:endParaRPr>
          </a:p>
          <a:p>
            <a:pPr>
              <a:defRPr/>
            </a:pPr>
            <a:r>
              <a:rPr lang="en-US" sz="4000" b="1" dirty="0">
                <a:solidFill>
                  <a:schemeClr val="accent1"/>
                </a:solidFill>
                <a:latin typeface="Cormorant Garamond SemiBold"/>
              </a:rPr>
              <a:t>each</a:t>
            </a: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ormorant Garamond SemiBold"/>
                <a:cs typeface="Arial"/>
                <a:sym typeface="Arial"/>
              </a:rPr>
              <a:t> </a:t>
            </a:r>
            <a:r>
              <a:rPr lang="en-US" sz="4000" b="1" dirty="0">
                <a:solidFill>
                  <a:schemeClr val="accent1"/>
                </a:solidFill>
                <a:latin typeface="Cormorant Garamond SemiBold"/>
              </a:rPr>
              <a:t>phase</a:t>
            </a: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ormorant Garamond SemiBold"/>
                <a:cs typeface="Arial"/>
                <a:sym typeface="Arial"/>
              </a:rPr>
              <a:t> of the experience through</a:t>
            </a:r>
            <a:r>
              <a:rPr lang="en-US" sz="4000" b="1" dirty="0">
                <a:solidFill>
                  <a:schemeClr val="accent1"/>
                </a:solidFill>
                <a:latin typeface="Cormorant Garamond SemiBold"/>
              </a:rPr>
              <a:t> </a:t>
            </a: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ormorant Garamond SemiBold"/>
                <a:cs typeface="Arial"/>
                <a:sym typeface="Arial"/>
              </a:rPr>
              <a:t>digital journeys</a:t>
            </a:r>
            <a:endParaRPr lang="en-US" sz="40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ormorant Garamond SemiBold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E4415E-70F8-8C4B-B949-AA6D6CC8BF4F}"/>
              </a:ext>
            </a:extLst>
          </p:cNvPr>
          <p:cNvSpPr txBox="1"/>
          <p:nvPr/>
        </p:nvSpPr>
        <p:spPr>
          <a:xfrm>
            <a:off x="10287000" y="392352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it</a:t>
            </a:r>
          </a:p>
        </p:txBody>
      </p:sp>
    </p:spTree>
    <p:extLst>
      <p:ext uri="{BB962C8B-B14F-4D97-AF65-F5344CB8AC3E}">
        <p14:creationId xmlns:p14="http://schemas.microsoft.com/office/powerpoint/2010/main" val="113946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723BF6D-6621-AC45-90F3-8A4DA8928850}"/>
              </a:ext>
            </a:extLst>
          </p:cNvPr>
          <p:cNvSpPr/>
          <p:nvPr/>
        </p:nvSpPr>
        <p:spPr>
          <a:xfrm>
            <a:off x="728063" y="1336569"/>
            <a:ext cx="10778137" cy="609600"/>
          </a:xfrm>
          <a:prstGeom prst="rect">
            <a:avLst/>
          </a:prstGeom>
          <a:solidFill>
            <a:srgbClr val="D67A1E">
              <a:alpha val="1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DB5ACC-0BC4-274F-94F3-59008CE34CAB}"/>
              </a:ext>
            </a:extLst>
          </p:cNvPr>
          <p:cNvSpPr/>
          <p:nvPr/>
        </p:nvSpPr>
        <p:spPr>
          <a:xfrm>
            <a:off x="727305" y="1334162"/>
            <a:ext cx="1481737" cy="60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9EDAF7-3BFD-2344-98FB-4C8FA1C52B81}"/>
              </a:ext>
            </a:extLst>
          </p:cNvPr>
          <p:cNvSpPr txBox="1"/>
          <p:nvPr/>
        </p:nvSpPr>
        <p:spPr>
          <a:xfrm>
            <a:off x="3193997" y="120728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16827C-FCB8-5849-B2BB-65A53526B72A}"/>
              </a:ext>
            </a:extLst>
          </p:cNvPr>
          <p:cNvSpPr txBox="1"/>
          <p:nvPr/>
        </p:nvSpPr>
        <p:spPr>
          <a:xfrm>
            <a:off x="8049665" y="1207284"/>
            <a:ext cx="1237129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tend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28DA57B-0AC3-7341-AE7B-CF72AEBF4540}"/>
              </a:ext>
            </a:extLst>
          </p:cNvPr>
          <p:cNvCxnSpPr>
            <a:cxnSpLocks/>
          </p:cNvCxnSpPr>
          <p:nvPr/>
        </p:nvCxnSpPr>
        <p:spPr>
          <a:xfrm>
            <a:off x="2438400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F75AC87-7838-7542-B292-1D6A089EE2A2}"/>
              </a:ext>
            </a:extLst>
          </p:cNvPr>
          <p:cNvCxnSpPr>
            <a:cxnSpLocks/>
          </p:cNvCxnSpPr>
          <p:nvPr/>
        </p:nvCxnSpPr>
        <p:spPr>
          <a:xfrm>
            <a:off x="4665552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CF6EFC1-61F9-744B-B86C-037FB393D044}"/>
              </a:ext>
            </a:extLst>
          </p:cNvPr>
          <p:cNvCxnSpPr>
            <a:cxnSpLocks/>
          </p:cNvCxnSpPr>
          <p:nvPr/>
        </p:nvCxnSpPr>
        <p:spPr>
          <a:xfrm>
            <a:off x="7024734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78715F5-6E8F-D643-9F1B-2EA110BA72AE}"/>
              </a:ext>
            </a:extLst>
          </p:cNvPr>
          <p:cNvCxnSpPr>
            <a:cxnSpLocks/>
          </p:cNvCxnSpPr>
          <p:nvPr/>
        </p:nvCxnSpPr>
        <p:spPr>
          <a:xfrm>
            <a:off x="9448800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F7BF767-25C8-E44E-A3A4-2CE3766555B2}"/>
              </a:ext>
            </a:extLst>
          </p:cNvPr>
          <p:cNvSpPr txBox="1"/>
          <p:nvPr/>
        </p:nvSpPr>
        <p:spPr>
          <a:xfrm>
            <a:off x="5660558" y="1207284"/>
            <a:ext cx="112955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gag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58AB4D-6B33-C14D-9B97-844BEF0907DB}"/>
              </a:ext>
            </a:extLst>
          </p:cNvPr>
          <p:cNvSpPr txBox="1"/>
          <p:nvPr/>
        </p:nvSpPr>
        <p:spPr>
          <a:xfrm>
            <a:off x="1011731" y="1209207"/>
            <a:ext cx="99508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morant Garamond"/>
                <a:cs typeface="Arial"/>
                <a:sym typeface="Arial"/>
              </a:rPr>
              <a:t>entice</a:t>
            </a:r>
            <a:endParaRPr kumimoji="0" lang="en-US" sz="20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morant Garamond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EBF189-C478-1D47-9B47-FC852599634E}"/>
              </a:ext>
            </a:extLst>
          </p:cNvPr>
          <p:cNvSpPr txBox="1"/>
          <p:nvPr/>
        </p:nvSpPr>
        <p:spPr>
          <a:xfrm>
            <a:off x="728789" y="2065310"/>
            <a:ext cx="3384582" cy="10310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I want to research and </a:t>
            </a:r>
            <a:r>
              <a:rPr lang="en-US" sz="1400" dirty="0">
                <a:solidFill>
                  <a:srgbClr val="595959"/>
                </a:solidFill>
                <a:latin typeface="Graphik"/>
              </a:rPr>
              <a:t>se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 what benefits are right for me.</a:t>
            </a:r>
          </a:p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595959"/>
                </a:solidFill>
                <a:latin typeface="Graphik"/>
              </a:rPr>
              <a:t>I want to know what child support services are available.</a:t>
            </a: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9E82EB8-4C77-5D44-B9CC-A5D49A0194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6775"/>
          <a:stretch/>
        </p:blipFill>
        <p:spPr>
          <a:xfrm>
            <a:off x="4759510" y="404564"/>
            <a:ext cx="2405888" cy="29704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88C13D2-3336-7F4C-943B-1BE03E8FCB57}"/>
              </a:ext>
            </a:extLst>
          </p:cNvPr>
          <p:cNvSpPr txBox="1"/>
          <p:nvPr/>
        </p:nvSpPr>
        <p:spPr>
          <a:xfrm>
            <a:off x="3877553" y="5248"/>
            <a:ext cx="4169803" cy="60869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 w="0"/>
                <a:solidFill>
                  <a:srgbClr val="595959">
                    <a:lumMod val="50000"/>
                    <a:lumOff val="50000"/>
                  </a:srgbClr>
                </a:solidFill>
                <a:effectLst/>
                <a:uLnTx/>
                <a:uFillTx/>
                <a:latin typeface="Cormorant Garamond" pitchFamily="2" charset="77"/>
                <a:cs typeface="Arial"/>
                <a:sym typeface="Arial"/>
              </a:rPr>
              <a:t>Experien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E4415E-70F8-8C4B-B949-AA6D6CC8BF4F}"/>
              </a:ext>
            </a:extLst>
          </p:cNvPr>
          <p:cNvSpPr txBox="1"/>
          <p:nvPr/>
        </p:nvSpPr>
        <p:spPr>
          <a:xfrm>
            <a:off x="10287000" y="120728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it</a:t>
            </a:r>
          </a:p>
        </p:txBody>
      </p:sp>
      <p:pic>
        <p:nvPicPr>
          <p:cNvPr id="10" name="Picture 9" descr="A screenshot of a website&#10;&#10;Description automatically generated">
            <a:extLst>
              <a:ext uri="{FF2B5EF4-FFF2-40B4-BE49-F238E27FC236}">
                <a16:creationId xmlns:a16="http://schemas.microsoft.com/office/drawing/2014/main" id="{70108824-7AC3-CF62-91AB-E3B430FC496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1530"/>
          <a:stretch/>
        </p:blipFill>
        <p:spPr>
          <a:xfrm>
            <a:off x="734231" y="3386096"/>
            <a:ext cx="3008429" cy="22673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2" name="Picture 21" descr="A screenshot of a website&#10;&#10;Description automatically generated">
            <a:extLst>
              <a:ext uri="{FF2B5EF4-FFF2-40B4-BE49-F238E27FC236}">
                <a16:creationId xmlns:a16="http://schemas.microsoft.com/office/drawing/2014/main" id="{6103D2EA-FE57-72F4-22F8-56FBCD10C10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8049" b="48795"/>
          <a:stretch/>
        </p:blipFill>
        <p:spPr>
          <a:xfrm>
            <a:off x="4242634" y="3381477"/>
            <a:ext cx="2931291" cy="227385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6" name="Picture 25" descr="A screenshot of a website&#10;&#10;Description automatically generated">
            <a:extLst>
              <a:ext uri="{FF2B5EF4-FFF2-40B4-BE49-F238E27FC236}">
                <a16:creationId xmlns:a16="http://schemas.microsoft.com/office/drawing/2014/main" id="{CB14EE24-4D77-FA50-35D2-A62E1D9295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3899" y="3381476"/>
            <a:ext cx="3228844" cy="22692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42C10D05-1350-8FA4-DBBE-44105D066CDC}"/>
              </a:ext>
            </a:extLst>
          </p:cNvPr>
          <p:cNvSpPr txBox="1"/>
          <p:nvPr/>
        </p:nvSpPr>
        <p:spPr>
          <a:xfrm>
            <a:off x="685800" y="5791200"/>
            <a:ext cx="3056860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Homepage</a:t>
            </a:r>
            <a:endParaRPr lang="en-US" sz="10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F81AD05-20DD-C2EA-33C7-95956FDDF5CB}"/>
              </a:ext>
            </a:extLst>
          </p:cNvPr>
          <p:cNvSpPr txBox="1"/>
          <p:nvPr/>
        </p:nvSpPr>
        <p:spPr>
          <a:xfrm>
            <a:off x="4242634" y="5791200"/>
            <a:ext cx="2964344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Benefits and services selection</a:t>
            </a:r>
            <a:endParaRPr lang="en-US" sz="10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CD884C4-1137-E76F-902F-EB5CED1B86FA}"/>
              </a:ext>
            </a:extLst>
          </p:cNvPr>
          <p:cNvSpPr txBox="1"/>
          <p:nvPr/>
        </p:nvSpPr>
        <p:spPr>
          <a:xfrm>
            <a:off x="7669796" y="5784261"/>
            <a:ext cx="3228843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Child support application overview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8503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723BF6D-6621-AC45-90F3-8A4DA8928850}"/>
              </a:ext>
            </a:extLst>
          </p:cNvPr>
          <p:cNvSpPr/>
          <p:nvPr/>
        </p:nvSpPr>
        <p:spPr>
          <a:xfrm>
            <a:off x="728063" y="1336569"/>
            <a:ext cx="10778137" cy="609600"/>
          </a:xfrm>
          <a:prstGeom prst="rect">
            <a:avLst/>
          </a:prstGeom>
          <a:solidFill>
            <a:srgbClr val="D67A1E">
              <a:alpha val="1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DB5ACC-0BC4-274F-94F3-59008CE34CAB}"/>
              </a:ext>
            </a:extLst>
          </p:cNvPr>
          <p:cNvSpPr/>
          <p:nvPr/>
        </p:nvSpPr>
        <p:spPr>
          <a:xfrm>
            <a:off x="2934823" y="1334162"/>
            <a:ext cx="1481737" cy="60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9EDAF7-3BFD-2344-98FB-4C8FA1C52B81}"/>
              </a:ext>
            </a:extLst>
          </p:cNvPr>
          <p:cNvSpPr txBox="1"/>
          <p:nvPr/>
        </p:nvSpPr>
        <p:spPr>
          <a:xfrm>
            <a:off x="3193997" y="120728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16827C-FCB8-5849-B2BB-65A53526B72A}"/>
              </a:ext>
            </a:extLst>
          </p:cNvPr>
          <p:cNvSpPr txBox="1"/>
          <p:nvPr/>
        </p:nvSpPr>
        <p:spPr>
          <a:xfrm>
            <a:off x="8049665" y="1207284"/>
            <a:ext cx="1237129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tend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28DA57B-0AC3-7341-AE7B-CF72AEBF4540}"/>
              </a:ext>
            </a:extLst>
          </p:cNvPr>
          <p:cNvCxnSpPr>
            <a:cxnSpLocks/>
          </p:cNvCxnSpPr>
          <p:nvPr/>
        </p:nvCxnSpPr>
        <p:spPr>
          <a:xfrm>
            <a:off x="2438400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F75AC87-7838-7542-B292-1D6A089EE2A2}"/>
              </a:ext>
            </a:extLst>
          </p:cNvPr>
          <p:cNvCxnSpPr>
            <a:cxnSpLocks/>
          </p:cNvCxnSpPr>
          <p:nvPr/>
        </p:nvCxnSpPr>
        <p:spPr>
          <a:xfrm>
            <a:off x="4665552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CF6EFC1-61F9-744B-B86C-037FB393D044}"/>
              </a:ext>
            </a:extLst>
          </p:cNvPr>
          <p:cNvCxnSpPr>
            <a:cxnSpLocks/>
          </p:cNvCxnSpPr>
          <p:nvPr/>
        </p:nvCxnSpPr>
        <p:spPr>
          <a:xfrm>
            <a:off x="7024734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78715F5-6E8F-D643-9F1B-2EA110BA72AE}"/>
              </a:ext>
            </a:extLst>
          </p:cNvPr>
          <p:cNvCxnSpPr>
            <a:cxnSpLocks/>
          </p:cNvCxnSpPr>
          <p:nvPr/>
        </p:nvCxnSpPr>
        <p:spPr>
          <a:xfrm>
            <a:off x="9448800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F7BF767-25C8-E44E-A3A4-2CE3766555B2}"/>
              </a:ext>
            </a:extLst>
          </p:cNvPr>
          <p:cNvSpPr txBox="1"/>
          <p:nvPr/>
        </p:nvSpPr>
        <p:spPr>
          <a:xfrm>
            <a:off x="5660558" y="1207284"/>
            <a:ext cx="112955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gag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58AB4D-6B33-C14D-9B97-844BEF0907DB}"/>
              </a:ext>
            </a:extLst>
          </p:cNvPr>
          <p:cNvSpPr txBox="1"/>
          <p:nvPr/>
        </p:nvSpPr>
        <p:spPr>
          <a:xfrm>
            <a:off x="1011731" y="1209207"/>
            <a:ext cx="99508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cs typeface="Arial"/>
                <a:sym typeface="Arial"/>
              </a:rPr>
              <a:t>entice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rgbClr val="657F14"/>
              </a:solidFill>
              <a:effectLst/>
              <a:uLnTx/>
              <a:uFillTx/>
              <a:latin typeface="Cormorant Garamond"/>
              <a:cs typeface="Arial"/>
              <a:sym typeface="Arial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9E82EB8-4C77-5D44-B9CC-A5D49A0194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6775"/>
          <a:stretch/>
        </p:blipFill>
        <p:spPr>
          <a:xfrm>
            <a:off x="4759510" y="404564"/>
            <a:ext cx="2405888" cy="29704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88C13D2-3336-7F4C-943B-1BE03E8FCB57}"/>
              </a:ext>
            </a:extLst>
          </p:cNvPr>
          <p:cNvSpPr txBox="1"/>
          <p:nvPr/>
        </p:nvSpPr>
        <p:spPr>
          <a:xfrm>
            <a:off x="3877553" y="5248"/>
            <a:ext cx="4169803" cy="60869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 w="0"/>
                <a:solidFill>
                  <a:srgbClr val="595959">
                    <a:lumMod val="50000"/>
                    <a:lumOff val="50000"/>
                  </a:srgbClr>
                </a:solidFill>
                <a:effectLst/>
                <a:uLnTx/>
                <a:uFillTx/>
                <a:latin typeface="Cormorant Garamond" pitchFamily="2" charset="77"/>
                <a:cs typeface="Arial"/>
                <a:sym typeface="Arial"/>
              </a:rPr>
              <a:t>Experien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E4415E-70F8-8C4B-B949-AA6D6CC8BF4F}"/>
              </a:ext>
            </a:extLst>
          </p:cNvPr>
          <p:cNvSpPr txBox="1"/>
          <p:nvPr/>
        </p:nvSpPr>
        <p:spPr>
          <a:xfrm>
            <a:off x="10287000" y="120728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it</a:t>
            </a:r>
          </a:p>
        </p:txBody>
      </p:sp>
      <p:pic>
        <p:nvPicPr>
          <p:cNvPr id="26" name="Picture 25" descr="A screenshot of a website&#10;&#10;Description automatically generated">
            <a:extLst>
              <a:ext uri="{FF2B5EF4-FFF2-40B4-BE49-F238E27FC236}">
                <a16:creationId xmlns:a16="http://schemas.microsoft.com/office/drawing/2014/main" id="{CB14EE24-4D77-FA50-35D2-A62E1D9295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-3803"/>
          <a:stretch/>
        </p:blipFill>
        <p:spPr>
          <a:xfrm>
            <a:off x="728063" y="3381476"/>
            <a:ext cx="3228844" cy="23555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2296422-526C-1CEE-5129-AB5DF7CBF9B2}"/>
              </a:ext>
            </a:extLst>
          </p:cNvPr>
          <p:cNvSpPr txBox="1"/>
          <p:nvPr/>
        </p:nvSpPr>
        <p:spPr>
          <a:xfrm>
            <a:off x="2866622" y="2070640"/>
            <a:ext cx="3686578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'm ready to enroll</a:t>
            </a:r>
            <a:endParaRPr lang="en-US" dirty="0"/>
          </a:p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 feel prepared to fill out my application.</a:t>
            </a:r>
            <a:endParaRPr lang="en-US" sz="1850" dirty="0"/>
          </a:p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 want to submit my application.</a:t>
            </a:r>
          </a:p>
        </p:txBody>
      </p:sp>
      <p:pic>
        <p:nvPicPr>
          <p:cNvPr id="27" name="Picture 26" descr="A screenshot of a website&#10;&#10;Description automatically generated">
            <a:extLst>
              <a:ext uri="{FF2B5EF4-FFF2-40B4-BE49-F238E27FC236}">
                <a16:creationId xmlns:a16="http://schemas.microsoft.com/office/drawing/2014/main" id="{C731B191-907D-7647-22FD-3B2C2E07A7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77694"/>
          <a:stretch/>
        </p:blipFill>
        <p:spPr>
          <a:xfrm>
            <a:off x="724675" y="3371813"/>
            <a:ext cx="3228844" cy="23652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F39E067-3FCE-A46B-C1FD-FDE71F7CE9A7}"/>
              </a:ext>
            </a:extLst>
          </p:cNvPr>
          <p:cNvSpPr txBox="1"/>
          <p:nvPr/>
        </p:nvSpPr>
        <p:spPr>
          <a:xfrm>
            <a:off x="685799" y="5899430"/>
            <a:ext cx="3267719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How to apply overview</a:t>
            </a:r>
            <a:endParaRPr lang="en-US" sz="10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8BD4388-A697-B276-68C1-5ECEB977EE22}"/>
              </a:ext>
            </a:extLst>
          </p:cNvPr>
          <p:cNvSpPr txBox="1"/>
          <p:nvPr/>
        </p:nvSpPr>
        <p:spPr>
          <a:xfrm>
            <a:off x="4242634" y="5899430"/>
            <a:ext cx="2964344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Application guide</a:t>
            </a:r>
            <a:endParaRPr lang="en-US" sz="1000" dirty="0"/>
          </a:p>
        </p:txBody>
      </p:sp>
      <p:pic>
        <p:nvPicPr>
          <p:cNvPr id="31" name="Picture 30" descr="A screenshot of a website&#10;&#10;Description automatically generated">
            <a:extLst>
              <a:ext uri="{FF2B5EF4-FFF2-40B4-BE49-F238E27FC236}">
                <a16:creationId xmlns:a16="http://schemas.microsoft.com/office/drawing/2014/main" id="{D861183E-F7B3-A302-F9AA-1A4EA3C7802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3121"/>
          <a:stretch/>
        </p:blipFill>
        <p:spPr>
          <a:xfrm>
            <a:off x="4215201" y="3364002"/>
            <a:ext cx="3226694" cy="23769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1764385F-FA40-F1F1-5844-A1151397DB6F}"/>
              </a:ext>
            </a:extLst>
          </p:cNvPr>
          <p:cNvSpPr txBox="1"/>
          <p:nvPr/>
        </p:nvSpPr>
        <p:spPr>
          <a:xfrm>
            <a:off x="7690269" y="5899430"/>
            <a:ext cx="3264475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Application experience</a:t>
            </a:r>
            <a:endParaRPr lang="en-US" sz="1000" dirty="0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B0695664-E5D0-B619-612D-A1C3E09A2F6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92595" y="3364003"/>
            <a:ext cx="3337070" cy="237302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1995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723BF6D-6621-AC45-90F3-8A4DA8928850}"/>
              </a:ext>
            </a:extLst>
          </p:cNvPr>
          <p:cNvSpPr/>
          <p:nvPr/>
        </p:nvSpPr>
        <p:spPr>
          <a:xfrm>
            <a:off x="728063" y="1336569"/>
            <a:ext cx="10778137" cy="609600"/>
          </a:xfrm>
          <a:prstGeom prst="rect">
            <a:avLst/>
          </a:prstGeom>
          <a:solidFill>
            <a:srgbClr val="D67A1E">
              <a:alpha val="1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DB5ACC-0BC4-274F-94F3-59008CE34CAB}"/>
              </a:ext>
            </a:extLst>
          </p:cNvPr>
          <p:cNvSpPr/>
          <p:nvPr/>
        </p:nvSpPr>
        <p:spPr>
          <a:xfrm>
            <a:off x="5484465" y="1338814"/>
            <a:ext cx="1481737" cy="60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9EDAF7-3BFD-2344-98FB-4C8FA1C52B81}"/>
              </a:ext>
            </a:extLst>
          </p:cNvPr>
          <p:cNvSpPr txBox="1"/>
          <p:nvPr/>
        </p:nvSpPr>
        <p:spPr>
          <a:xfrm>
            <a:off x="3193997" y="120728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16827C-FCB8-5849-B2BB-65A53526B72A}"/>
              </a:ext>
            </a:extLst>
          </p:cNvPr>
          <p:cNvSpPr txBox="1"/>
          <p:nvPr/>
        </p:nvSpPr>
        <p:spPr>
          <a:xfrm>
            <a:off x="8049665" y="1207284"/>
            <a:ext cx="1237129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tend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28DA57B-0AC3-7341-AE7B-CF72AEBF4540}"/>
              </a:ext>
            </a:extLst>
          </p:cNvPr>
          <p:cNvCxnSpPr>
            <a:cxnSpLocks/>
          </p:cNvCxnSpPr>
          <p:nvPr/>
        </p:nvCxnSpPr>
        <p:spPr>
          <a:xfrm>
            <a:off x="2438400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F75AC87-7838-7542-B292-1D6A089EE2A2}"/>
              </a:ext>
            </a:extLst>
          </p:cNvPr>
          <p:cNvCxnSpPr>
            <a:cxnSpLocks/>
          </p:cNvCxnSpPr>
          <p:nvPr/>
        </p:nvCxnSpPr>
        <p:spPr>
          <a:xfrm>
            <a:off x="4665552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CF6EFC1-61F9-744B-B86C-037FB393D044}"/>
              </a:ext>
            </a:extLst>
          </p:cNvPr>
          <p:cNvCxnSpPr>
            <a:cxnSpLocks/>
          </p:cNvCxnSpPr>
          <p:nvPr/>
        </p:nvCxnSpPr>
        <p:spPr>
          <a:xfrm>
            <a:off x="7024734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78715F5-6E8F-D643-9F1B-2EA110BA72AE}"/>
              </a:ext>
            </a:extLst>
          </p:cNvPr>
          <p:cNvCxnSpPr>
            <a:cxnSpLocks/>
          </p:cNvCxnSpPr>
          <p:nvPr/>
        </p:nvCxnSpPr>
        <p:spPr>
          <a:xfrm>
            <a:off x="9448800" y="1641369"/>
            <a:ext cx="374564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F7BF767-25C8-E44E-A3A4-2CE3766555B2}"/>
              </a:ext>
            </a:extLst>
          </p:cNvPr>
          <p:cNvSpPr txBox="1"/>
          <p:nvPr/>
        </p:nvSpPr>
        <p:spPr>
          <a:xfrm>
            <a:off x="5660558" y="1207284"/>
            <a:ext cx="112955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ngag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58AB4D-6B33-C14D-9B97-844BEF0907DB}"/>
              </a:ext>
            </a:extLst>
          </p:cNvPr>
          <p:cNvSpPr txBox="1"/>
          <p:nvPr/>
        </p:nvSpPr>
        <p:spPr>
          <a:xfrm>
            <a:off x="1011731" y="1209207"/>
            <a:ext cx="995082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cs typeface="Arial"/>
                <a:sym typeface="Arial"/>
              </a:rPr>
              <a:t>entice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rgbClr val="657F14"/>
              </a:solidFill>
              <a:effectLst/>
              <a:uLnTx/>
              <a:uFillTx/>
              <a:latin typeface="Cormorant Garamond"/>
              <a:cs typeface="Arial"/>
              <a:sym typeface="Arial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9E82EB8-4C77-5D44-B9CC-A5D49A0194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6775"/>
          <a:stretch/>
        </p:blipFill>
        <p:spPr>
          <a:xfrm>
            <a:off x="4759510" y="404564"/>
            <a:ext cx="2405888" cy="29704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88C13D2-3336-7F4C-943B-1BE03E8FCB57}"/>
              </a:ext>
            </a:extLst>
          </p:cNvPr>
          <p:cNvSpPr txBox="1"/>
          <p:nvPr/>
        </p:nvSpPr>
        <p:spPr>
          <a:xfrm>
            <a:off x="3877553" y="5248"/>
            <a:ext cx="4169803" cy="60869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 w="0"/>
                <a:solidFill>
                  <a:srgbClr val="595959">
                    <a:lumMod val="50000"/>
                    <a:lumOff val="50000"/>
                  </a:srgbClr>
                </a:solidFill>
                <a:effectLst/>
                <a:uLnTx/>
                <a:uFillTx/>
                <a:latin typeface="Cormorant Garamond" pitchFamily="2" charset="77"/>
                <a:cs typeface="Arial"/>
                <a:sym typeface="Arial"/>
              </a:rPr>
              <a:t>Experien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E4415E-70F8-8C4B-B949-AA6D6CC8BF4F}"/>
              </a:ext>
            </a:extLst>
          </p:cNvPr>
          <p:cNvSpPr txBox="1"/>
          <p:nvPr/>
        </p:nvSpPr>
        <p:spPr>
          <a:xfrm>
            <a:off x="10287000" y="1207284"/>
            <a:ext cx="914400" cy="6269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657F14"/>
                </a:solidFill>
                <a:effectLst/>
                <a:uLnTx/>
                <a:uFillTx/>
                <a:latin typeface="Cormorant Garamond"/>
                <a:ea typeface="+mn-ea"/>
                <a:cs typeface="Arial"/>
                <a:sym typeface="Arial"/>
              </a:rPr>
              <a:t>exi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9970EB0-A9C0-1EA2-2FB9-8313A9CBF283}"/>
              </a:ext>
            </a:extLst>
          </p:cNvPr>
          <p:cNvSpPr txBox="1"/>
          <p:nvPr/>
        </p:nvSpPr>
        <p:spPr>
          <a:xfrm>
            <a:off x="5427788" y="2047003"/>
            <a:ext cx="4706812" cy="19082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 want to know if and when my application is approved.</a:t>
            </a:r>
            <a:endParaRPr lang="en-US" sz="1850" dirty="0"/>
          </a:p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s my application complete?</a:t>
            </a:r>
          </a:p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When I will begin receiving benefits.</a:t>
            </a:r>
            <a:endParaRPr lang="en-US" dirty="0">
              <a:solidFill>
                <a:srgbClr val="44546A"/>
              </a:solidFill>
            </a:endParaRPr>
          </a:p>
          <a:p>
            <a:pPr>
              <a:spcAft>
                <a:spcPts val="600"/>
              </a:spcAft>
              <a:defRPr/>
            </a:pPr>
            <a:r>
              <a:rPr lang="en-US" sz="1400" dirty="0">
                <a:solidFill>
                  <a:srgbClr val="44546A"/>
                </a:solidFill>
                <a:latin typeface="Graphik"/>
              </a:rPr>
              <a:t>I want to know when I will receive child support payments.</a:t>
            </a:r>
          </a:p>
          <a:p>
            <a:pPr>
              <a:spcAft>
                <a:spcPts val="600"/>
              </a:spcAft>
              <a:defRPr/>
            </a:pPr>
            <a:endParaRPr lang="en-US" sz="1400" dirty="0">
              <a:latin typeface="Graphik"/>
            </a:endParaRPr>
          </a:p>
        </p:txBody>
      </p:sp>
      <p:pic>
        <p:nvPicPr>
          <p:cNvPr id="22" name="Picture 21" descr="A screenshot of a website&#10;&#10;Description automatically generated">
            <a:extLst>
              <a:ext uri="{FF2B5EF4-FFF2-40B4-BE49-F238E27FC236}">
                <a16:creationId xmlns:a16="http://schemas.microsoft.com/office/drawing/2014/main" id="{6E1D9F1F-3340-1364-25A3-5375BAFA83F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5218"/>
          <a:stretch/>
        </p:blipFill>
        <p:spPr>
          <a:xfrm>
            <a:off x="7428583" y="3505200"/>
            <a:ext cx="3738452" cy="24057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CEF6A25-9F72-E3E3-5505-CA37140210FA}"/>
              </a:ext>
            </a:extLst>
          </p:cNvPr>
          <p:cNvSpPr txBox="1"/>
          <p:nvPr/>
        </p:nvSpPr>
        <p:spPr>
          <a:xfrm>
            <a:off x="826868" y="6026739"/>
            <a:ext cx="2964344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Account dashboard</a:t>
            </a:r>
            <a:endParaRPr lang="en-US" sz="10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52D2D3A-3FA2-DD48-DF8C-D76DA708BD94}"/>
              </a:ext>
            </a:extLst>
          </p:cNvPr>
          <p:cNvSpPr txBox="1"/>
          <p:nvPr/>
        </p:nvSpPr>
        <p:spPr>
          <a:xfrm>
            <a:off x="7669796" y="6019800"/>
            <a:ext cx="3228843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Program status</a:t>
            </a:r>
            <a:endParaRPr lang="en-US" sz="1000" dirty="0"/>
          </a:p>
        </p:txBody>
      </p:sp>
      <p:pic>
        <p:nvPicPr>
          <p:cNvPr id="29" name="Picture 28" descr="A screenshot of a computer&#10;&#10;Description automatically generated">
            <a:extLst>
              <a:ext uri="{FF2B5EF4-FFF2-40B4-BE49-F238E27FC236}">
                <a16:creationId xmlns:a16="http://schemas.microsoft.com/office/drawing/2014/main" id="{4261FDBB-57F5-819B-978B-A7BCD32AADF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816" r="10072"/>
          <a:stretch/>
        </p:blipFill>
        <p:spPr>
          <a:xfrm>
            <a:off x="4038110" y="3513238"/>
            <a:ext cx="3057001" cy="23555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D986102-43B2-D2F1-E712-48071252742D}"/>
              </a:ext>
            </a:extLst>
          </p:cNvPr>
          <p:cNvSpPr txBox="1"/>
          <p:nvPr/>
        </p:nvSpPr>
        <p:spPr>
          <a:xfrm>
            <a:off x="3822850" y="6024253"/>
            <a:ext cx="3342548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/>
                <a:cs typeface="Arial"/>
                <a:sym typeface="Arial"/>
              </a:rPr>
              <a:t>Case linking</a:t>
            </a:r>
            <a:endParaRPr lang="en-US" sz="1000" dirty="0"/>
          </a:p>
        </p:txBody>
      </p:sp>
      <p:pic>
        <p:nvPicPr>
          <p:cNvPr id="5" name="Picture 4" descr="A screenshot of a medical application&#10;&#10;Description automatically generated">
            <a:extLst>
              <a:ext uri="{FF2B5EF4-FFF2-40B4-BE49-F238E27FC236}">
                <a16:creationId xmlns:a16="http://schemas.microsoft.com/office/drawing/2014/main" id="{08E3429D-0833-45F3-2646-70141696CCA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2443"/>
          <a:stretch/>
        </p:blipFill>
        <p:spPr>
          <a:xfrm>
            <a:off x="802571" y="3513238"/>
            <a:ext cx="2914815" cy="24210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028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ccenture_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Template_Graphik_v3" id="{C0F616C9-3293-4380-992F-A62101012C02}" vid="{1DCEBEEA-57AE-4F22-B73A-D6051563C8F1}"/>
    </a:ext>
  </a:extLst>
</a:theme>
</file>

<file path=ppt/theme/theme2.xml><?xml version="1.0" encoding="utf-8"?>
<a:theme xmlns:a="http://schemas.openxmlformats.org/drawingml/2006/main" name="4_Content Layouts">
  <a:themeElements>
    <a:clrScheme name="Fannie Mae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B5EE"/>
      </a:accent1>
      <a:accent2>
        <a:srgbClr val="00F3FF"/>
      </a:accent2>
      <a:accent3>
        <a:srgbClr val="007697"/>
      </a:accent3>
      <a:accent4>
        <a:srgbClr val="FFB500"/>
      </a:accent4>
      <a:accent5>
        <a:srgbClr val="003344"/>
      </a:accent5>
      <a:accent6>
        <a:srgbClr val="00AA99"/>
      </a:accent6>
      <a:hlink>
        <a:srgbClr val="FF7A00"/>
      </a:hlink>
      <a:folHlink>
        <a:srgbClr val="3F007F"/>
      </a:folHlink>
    </a:clrScheme>
    <a:fontScheme name="Custom 2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ecurity_Template_v09_170110_noFonts.potx" id="{3FDC62DA-E3B6-422E-B5BB-ADC51DA1B836}" vid="{18A381C2-93DC-45E0-8A11-70762AACF740}"/>
    </a:ext>
  </a:extLst>
</a:theme>
</file>

<file path=ppt/theme/theme3.xml><?xml version="1.0" encoding="utf-8"?>
<a:theme xmlns:a="http://schemas.openxmlformats.org/drawingml/2006/main" name="HCA">
  <a:themeElements>
    <a:clrScheme name="HealthFitness">
      <a:dk1>
        <a:srgbClr val="595959"/>
      </a:dk1>
      <a:lt1>
        <a:sysClr val="window" lastClr="FFFFFF"/>
      </a:lt1>
      <a:dk2>
        <a:srgbClr val="000000"/>
      </a:dk2>
      <a:lt2>
        <a:srgbClr val="DDDDDD"/>
      </a:lt2>
      <a:accent1>
        <a:srgbClr val="87A91B"/>
      </a:accent1>
      <a:accent2>
        <a:srgbClr val="FBCE11"/>
      </a:accent2>
      <a:accent3>
        <a:srgbClr val="446ED8"/>
      </a:accent3>
      <a:accent4>
        <a:srgbClr val="9D22E2"/>
      </a:accent4>
      <a:accent5>
        <a:srgbClr val="FE9E00"/>
      </a:accent5>
      <a:accent6>
        <a:srgbClr val="DF5327"/>
      </a:accent6>
      <a:hlink>
        <a:srgbClr val="446ED8"/>
      </a:hlink>
      <a:folHlink>
        <a:srgbClr val="828282"/>
      </a:folHlink>
    </a:clrScheme>
    <a:fontScheme name="Calibri Light">
      <a:majorFont>
        <a:latin typeface="Calibri Light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alth and fitness presentation (widescreen).potx" id="{ABFD658B-2256-413B-9244-0F977A0B2D12}" vid="{E4CB021D-C859-4C82-BDBB-2F2FACCF0D80}"/>
    </a:ext>
  </a:extLst>
</a:theme>
</file>

<file path=ppt/theme/theme4.xml><?xml version="1.0" encoding="utf-8"?>
<a:theme xmlns:a="http://schemas.openxmlformats.org/drawingml/2006/main" name="Human services_New Template">
  <a:themeElements>
    <a:clrScheme name="NM HCA">
      <a:dk1>
        <a:srgbClr val="595959"/>
      </a:dk1>
      <a:lt1>
        <a:sysClr val="window" lastClr="FFFFFF"/>
      </a:lt1>
      <a:dk2>
        <a:srgbClr val="000000"/>
      </a:dk2>
      <a:lt2>
        <a:srgbClr val="DDDDDD"/>
      </a:lt2>
      <a:accent1>
        <a:srgbClr val="0CA4C4"/>
      </a:accent1>
      <a:accent2>
        <a:srgbClr val="E9C73D"/>
      </a:accent2>
      <a:accent3>
        <a:srgbClr val="D8892A"/>
      </a:accent3>
      <a:accent4>
        <a:srgbClr val="A4CF47"/>
      </a:accent4>
      <a:accent5>
        <a:srgbClr val="057D8E"/>
      </a:accent5>
      <a:accent6>
        <a:srgbClr val="000000"/>
      </a:accent6>
      <a:hlink>
        <a:srgbClr val="446ED8"/>
      </a:hlink>
      <a:folHlink>
        <a:srgbClr val="828282"/>
      </a:folHlink>
    </a:clrScheme>
    <a:fontScheme name="Calibri Light">
      <a:majorFont>
        <a:latin typeface="Calibri Light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MHHS Brand guidelines" id="{6F18A5DB-B7F1-164D-9899-77B5155A3209}" vid="{DB835883-0086-3C4E-A081-316B032ADF3D}"/>
    </a:ext>
  </a:extLst>
</a:theme>
</file>

<file path=ppt/theme/theme5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4D7DE251CAAC4383D30CAEF2B0F80A" ma:contentTypeVersion="28" ma:contentTypeDescription="Create a new document." ma:contentTypeScope="" ma:versionID="a77467d630f26ff50d6bbb8f27089041">
  <xsd:schema xmlns:xsd="http://www.w3.org/2001/XMLSchema" xmlns:xs="http://www.w3.org/2001/XMLSchema" xmlns:p="http://schemas.microsoft.com/office/2006/metadata/properties" xmlns:ns2="dfe6bc91-38e7-4684-be93-7d1e5e0c4482" xmlns:ns3="fd030c88-d067-45c3-a3ec-91b334f68572" targetNamespace="http://schemas.microsoft.com/office/2006/metadata/properties" ma:root="true" ma:fieldsID="e0d08da016df8cfd061065f20514ded5" ns2:_="" ns3:_="">
    <xsd:import namespace="dfe6bc91-38e7-4684-be93-7d1e5e0c4482"/>
    <xsd:import namespace="fd030c88-d067-45c3-a3ec-91b334f6857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DateandTime" minOccurs="0"/>
                <xsd:element ref="ns2:Timestamp" minOccurs="0"/>
                <xsd:element ref="ns2:MediaServiceSearchProperties" minOccurs="0"/>
                <xsd:element ref="ns2:Folder" minOccurs="0"/>
                <xsd:element ref="ns2:f074fa04-5a5c-46e1-9b0d-406dff37d157CountryOrRegion" minOccurs="0"/>
                <xsd:element ref="ns2:f074fa04-5a5c-46e1-9b0d-406dff37d157State" minOccurs="0"/>
                <xsd:element ref="ns2:f074fa04-5a5c-46e1-9b0d-406dff37d157City" minOccurs="0"/>
                <xsd:element ref="ns2:f074fa04-5a5c-46e1-9b0d-406dff37d157PostalCode" minOccurs="0"/>
                <xsd:element ref="ns2:f074fa04-5a5c-46e1-9b0d-406dff37d157Street" minOccurs="0"/>
                <xsd:element ref="ns2:f074fa04-5a5c-46e1-9b0d-406dff37d157GeoLoc" minOccurs="0"/>
                <xsd:element ref="ns2:f074fa04-5a5c-46e1-9b0d-406dff37d157Disp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e6bc91-38e7-4684-be93-7d1e5e0c44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d165d17-9b79-46c3-82b9-c927e733c4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DateandTime" ma:index="25" nillable="true" ma:displayName="Date and Time" ma:format="DateOnly" ma:internalName="DateandTime">
      <xsd:simpleType>
        <xsd:restriction base="dms:DateTime"/>
      </xsd:simpleType>
    </xsd:element>
    <xsd:element name="Timestamp" ma:index="26" nillable="true" ma:displayName="Timestamp" ma:default="[today]" ma:format="DateTime" ma:internalName="Timestamp">
      <xsd:simpleType>
        <xsd:restriction base="dms:DateTime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Folder" ma:index="28" nillable="true" ma:displayName="Folder" ma:format="Dropdown" ma:internalName="Folder">
      <xsd:simpleType>
        <xsd:restriction base="dms:Unknown"/>
      </xsd:simpleType>
    </xsd:element>
    <xsd:element name="f074fa04-5a5c-46e1-9b0d-406dff37d157CountryOrRegion" ma:index="29" nillable="true" ma:displayName="Folder: Country/Region" ma:internalName="CountryOrRegion" ma:readOnly="true">
      <xsd:simpleType>
        <xsd:restriction base="dms:Text"/>
      </xsd:simpleType>
    </xsd:element>
    <xsd:element name="f074fa04-5a5c-46e1-9b0d-406dff37d157State" ma:index="30" nillable="true" ma:displayName="Folder: State" ma:internalName="State" ma:readOnly="true">
      <xsd:simpleType>
        <xsd:restriction base="dms:Text"/>
      </xsd:simpleType>
    </xsd:element>
    <xsd:element name="f074fa04-5a5c-46e1-9b0d-406dff37d157City" ma:index="31" nillable="true" ma:displayName="Folder: City" ma:internalName="City" ma:readOnly="true">
      <xsd:simpleType>
        <xsd:restriction base="dms:Text"/>
      </xsd:simpleType>
    </xsd:element>
    <xsd:element name="f074fa04-5a5c-46e1-9b0d-406dff37d157PostalCode" ma:index="32" nillable="true" ma:displayName="Folder: Postal Code" ma:internalName="PostalCode" ma:readOnly="true">
      <xsd:simpleType>
        <xsd:restriction base="dms:Text"/>
      </xsd:simpleType>
    </xsd:element>
    <xsd:element name="f074fa04-5a5c-46e1-9b0d-406dff37d157Street" ma:index="33" nillable="true" ma:displayName="Folder: Street" ma:internalName="Street" ma:readOnly="true">
      <xsd:simpleType>
        <xsd:restriction base="dms:Text"/>
      </xsd:simpleType>
    </xsd:element>
    <xsd:element name="f074fa04-5a5c-46e1-9b0d-406dff37d157GeoLoc" ma:index="34" nillable="true" ma:displayName="Folder: Coordinates" ma:internalName="GeoLoc" ma:readOnly="true">
      <xsd:simpleType>
        <xsd:restriction base="dms:Unknown"/>
      </xsd:simpleType>
    </xsd:element>
    <xsd:element name="f074fa04-5a5c-46e1-9b0d-406dff37d157DispName" ma:index="35" nillable="true" ma:displayName="Folder: Name" ma:internalName="DispNa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030c88-d067-45c3-a3ec-91b334f6857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67b9fd1-06f0-4c0d-a901-3caa7c4e8c39}" ma:internalName="TaxCatchAll" ma:showField="CatchAllData" ma:web="fd030c88-d067-45c3-a3ec-91b334f6857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d030c88-d067-45c3-a3ec-91b334f68572">
      <UserInfo>
        <DisplayName>Byrne, Zoryana</DisplayName>
        <AccountId>87</AccountId>
        <AccountType/>
      </UserInfo>
      <UserInfo>
        <DisplayName>Chowdhury, Joydeep</DisplayName>
        <AccountId>319</AccountId>
        <AccountType/>
      </UserInfo>
      <UserInfo>
        <DisplayName>Saxena, Mamta</DisplayName>
        <AccountId>620</AccountId>
        <AccountType/>
      </UserInfo>
      <UserInfo>
        <DisplayName>Osterman, Russell</DisplayName>
        <AccountId>96</AccountId>
        <AccountType/>
      </UserInfo>
      <UserInfo>
        <DisplayName>Mefford, John B.</DisplayName>
        <AccountId>285</AccountId>
        <AccountType/>
      </UserInfo>
      <UserInfo>
        <DisplayName>Goel, Ashish</DisplayName>
        <AccountId>1197</AccountId>
        <AccountType/>
      </UserInfo>
      <UserInfo>
        <DisplayName>Sharma, Sumit Kumar</DisplayName>
        <AccountId>1263</AccountId>
        <AccountType/>
      </UserInfo>
      <UserInfo>
        <DisplayName>Pattabiraman, Madhanagopal</DisplayName>
        <AccountId>1264</AccountId>
        <AccountType/>
      </UserInfo>
      <UserInfo>
        <DisplayName>Goodwillie, Fiona J.</DisplayName>
        <AccountId>968</AccountId>
        <AccountType/>
      </UserInfo>
      <UserInfo>
        <DisplayName>Richard, Marcia</DisplayName>
        <AccountId>255</AccountId>
        <AccountType/>
      </UserInfo>
    </SharedWithUsers>
    <TaxCatchAll xmlns="fd030c88-d067-45c3-a3ec-91b334f68572" xsi:nil="true"/>
    <lcf76f155ced4ddcb4097134ff3c332f xmlns="dfe6bc91-38e7-4684-be93-7d1e5e0c4482">
      <Terms xmlns="http://schemas.microsoft.com/office/infopath/2007/PartnerControls"/>
    </lcf76f155ced4ddcb4097134ff3c332f>
    <DateandTime xmlns="dfe6bc91-38e7-4684-be93-7d1e5e0c4482" xsi:nil="true"/>
    <Timestamp xmlns="dfe6bc91-38e7-4684-be93-7d1e5e0c4482">2023-12-09T20:42:24+00:00</Timestamp>
    <Folder xmlns="dfe6bc91-38e7-4684-be93-7d1e5e0c4482" xsi:nil="true"/>
  </documentManagement>
</p:properties>
</file>

<file path=customXml/itemProps1.xml><?xml version="1.0" encoding="utf-8"?>
<ds:datastoreItem xmlns:ds="http://schemas.openxmlformats.org/officeDocument/2006/customXml" ds:itemID="{B9207F89-B964-45B9-95FA-6CFA0A11AA5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00590B-0ADB-437D-86D5-75368CA5F77E}">
  <ds:schemaRefs>
    <ds:schemaRef ds:uri="dfe6bc91-38e7-4684-be93-7d1e5e0c4482"/>
    <ds:schemaRef ds:uri="fd030c88-d067-45c3-a3ec-91b334f6857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0BBAD00-35D2-4918-8CB4-3D287F38FAB6}">
  <ds:schemaRefs>
    <ds:schemaRef ds:uri="http://purl.org/dc/dcmitype/"/>
    <ds:schemaRef ds:uri="http://purl.org/dc/terms/"/>
    <ds:schemaRef ds:uri="dfe6bc91-38e7-4684-be93-7d1e5e0c4482"/>
    <ds:schemaRef ds:uri="http://schemas.microsoft.com/office/2006/documentManagement/types"/>
    <ds:schemaRef ds:uri="fd030c88-d067-45c3-a3ec-91b334f68572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50</TotalTime>
  <Words>290</Words>
  <Application>Microsoft Office PowerPoint</Application>
  <PresentationFormat>Widescreen</PresentationFormat>
  <Paragraphs>105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Cormorant Garamond</vt:lpstr>
      <vt:lpstr>Cormorant Garamond Medium</vt:lpstr>
      <vt:lpstr>Cormorant Garamond SemiBold</vt:lpstr>
      <vt:lpstr>Google Sans Medium</vt:lpstr>
      <vt:lpstr>Graphik</vt:lpstr>
      <vt:lpstr>Graphik Medium</vt:lpstr>
      <vt:lpstr>Graphik Semibold</vt:lpstr>
      <vt:lpstr>Content Layouts</vt:lpstr>
      <vt:lpstr>4_Content Layouts</vt:lpstr>
      <vt:lpstr>HCA</vt:lpstr>
      <vt:lpstr>Human services_New Template</vt:lpstr>
      <vt:lpstr>think-cell Slide</vt:lpstr>
      <vt:lpstr>YesNM Portal Demonstration Meeting for Early Childhood Education &amp; Care Department 11/05/24</vt:lpstr>
      <vt:lpstr>PowerPoint Presentation</vt:lpstr>
      <vt:lpstr>Meeting Agenda</vt:lpstr>
      <vt:lpstr>Design Approac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MO </vt:lpstr>
      <vt:lpstr>Open Forum Questions &amp; Answers</vt:lpstr>
      <vt:lpstr>APPENDIX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TITLE] [MONTH, DAY YEAR]</dc:title>
  <dc:subject/>
  <dc:creator>Solanki, Subhash</dc:creator>
  <cp:keywords/>
  <dc:description/>
  <cp:lastModifiedBy>Solanki, Subhash</cp:lastModifiedBy>
  <cp:revision>108</cp:revision>
  <dcterms:modified xsi:type="dcterms:W3CDTF">2024-11-04T23:00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4D7DE251CAAC4383D30CAEF2B0F80A</vt:lpwstr>
  </property>
  <property fmtid="{D5CDD505-2E9C-101B-9397-08002B2CF9AE}" pid="3" name="MSIP_Label_5fae8262-b78e-4366-8929-a5d6aac95320_Enabled">
    <vt:lpwstr>true</vt:lpwstr>
  </property>
  <property fmtid="{D5CDD505-2E9C-101B-9397-08002B2CF9AE}" pid="4" name="MSIP_Label_5fae8262-b78e-4366-8929-a5d6aac95320_SetDate">
    <vt:lpwstr>2022-05-12T16:03:27Z</vt:lpwstr>
  </property>
  <property fmtid="{D5CDD505-2E9C-101B-9397-08002B2CF9AE}" pid="5" name="MSIP_Label_5fae8262-b78e-4366-8929-a5d6aac95320_Method">
    <vt:lpwstr>Standard</vt:lpwstr>
  </property>
  <property fmtid="{D5CDD505-2E9C-101B-9397-08002B2CF9AE}" pid="6" name="MSIP_Label_5fae8262-b78e-4366-8929-a5d6aac95320_Name">
    <vt:lpwstr>5fae8262-b78e-4366-8929-a5d6aac95320</vt:lpwstr>
  </property>
  <property fmtid="{D5CDD505-2E9C-101B-9397-08002B2CF9AE}" pid="7" name="MSIP_Label_5fae8262-b78e-4366-8929-a5d6aac95320_SiteId">
    <vt:lpwstr>e0793d39-0939-496d-b129-198edd916feb</vt:lpwstr>
  </property>
  <property fmtid="{D5CDD505-2E9C-101B-9397-08002B2CF9AE}" pid="8" name="MSIP_Label_5fae8262-b78e-4366-8929-a5d6aac95320_ActionId">
    <vt:lpwstr>e5c2d217-c6ba-49b1-b260-a530c40660a3</vt:lpwstr>
  </property>
  <property fmtid="{D5CDD505-2E9C-101B-9397-08002B2CF9AE}" pid="9" name="MSIP_Label_5fae8262-b78e-4366-8929-a5d6aac95320_ContentBits">
    <vt:lpwstr>0</vt:lpwstr>
  </property>
  <property fmtid="{D5CDD505-2E9C-101B-9397-08002B2CF9AE}" pid="10" name="MediaServiceImageTags">
    <vt:lpwstr/>
  </property>
  <property fmtid="{D5CDD505-2E9C-101B-9397-08002B2CF9AE}" pid="11" name="Project">
    <vt:i4>-1</vt:i4>
  </property>
  <property fmtid="{D5CDD505-2E9C-101B-9397-08002B2CF9AE}" pid="12" name="_dlc_DocIdItemGuid">
    <vt:lpwstr>dfd08fe8-248d-4204-8664-fdf1ab67f36b</vt:lpwstr>
  </property>
</Properties>
</file>